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8" r:id="rId2"/>
    <p:sldMasterId id="2147483660" r:id="rId3"/>
    <p:sldMasterId id="2147483679" r:id="rId4"/>
  </p:sldMasterIdLst>
  <p:notesMasterIdLst>
    <p:notesMasterId r:id="rId17"/>
  </p:notesMasterIdLst>
  <p:sldIdLst>
    <p:sldId id="256" r:id="rId5"/>
    <p:sldId id="274" r:id="rId6"/>
    <p:sldId id="275" r:id="rId7"/>
    <p:sldId id="289" r:id="rId8"/>
    <p:sldId id="281" r:id="rId9"/>
    <p:sldId id="292" r:id="rId10"/>
    <p:sldId id="291" r:id="rId11"/>
    <p:sldId id="278" r:id="rId12"/>
    <p:sldId id="284" r:id="rId13"/>
    <p:sldId id="285" r:id="rId14"/>
    <p:sldId id="290" r:id="rId15"/>
    <p:sldId id="265" r:id="rId16"/>
  </p:sldIdLst>
  <p:sldSz cx="9144000" cy="6858000" type="screen4x3"/>
  <p:notesSz cx="7010400" cy="92964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75A4"/>
    <a:srgbClr val="00207E"/>
    <a:srgbClr val="FFC66F"/>
    <a:srgbClr val="FF8500"/>
    <a:srgbClr val="002A64"/>
    <a:srgbClr val="00345E"/>
    <a:srgbClr val="404040"/>
    <a:srgbClr val="3963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28" autoAdjust="0"/>
    <p:restoredTop sz="74433" autoAdjust="0"/>
  </p:normalViewPr>
  <p:slideViewPr>
    <p:cSldViewPr>
      <p:cViewPr varScale="1">
        <p:scale>
          <a:sx n="83" d="100"/>
          <a:sy n="83" d="100"/>
        </p:scale>
        <p:origin x="2592" y="20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viewProps" Target="viewProps.xml"/><Relationship Id="rId21" Type="http://schemas.openxmlformats.org/officeDocument/2006/relationships/theme" Target="theme/theme1.xml"/><Relationship Id="rId22"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notesMaster" Target="notesMasters/notesMaster1.xml"/><Relationship Id="rId18" Type="http://schemas.openxmlformats.org/officeDocument/2006/relationships/tags" Target="tags/tag1.xml"/><Relationship Id="rId19" Type="http://schemas.openxmlformats.org/officeDocument/2006/relationships/presProps" Target="presProp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3F8EDE-1F6A-4D83-AACB-EF44D48A20B5}" type="doc">
      <dgm:prSet loTypeId="urn:microsoft.com/office/officeart/2005/8/layout/pyramid2" loCatId="pyramid" qsTypeId="urn:microsoft.com/office/officeart/2005/8/quickstyle/simple4" qsCatId="simple" csTypeId="urn:microsoft.com/office/officeart/2005/8/colors/accent1_2" csCatId="accent1" phldr="1"/>
      <dgm:spPr/>
      <dgm:t>
        <a:bodyPr/>
        <a:lstStyle/>
        <a:p>
          <a:endParaRPr lang="en-US"/>
        </a:p>
      </dgm:t>
    </dgm:pt>
    <dgm:pt modelId="{9832BCAC-31AC-4939-B195-7C82E0A711D9}">
      <dgm:prSet custT="1"/>
      <dgm:spPr/>
      <dgm:t>
        <a:bodyPr/>
        <a:lstStyle/>
        <a:p>
          <a:r>
            <a:rPr lang="en-US" sz="1800" b="1" dirty="0"/>
            <a:t>Innovation Funding</a:t>
          </a:r>
        </a:p>
      </dgm:t>
    </dgm:pt>
    <dgm:pt modelId="{5255DEED-2B0E-4FA4-9A8C-FE14CD201556}" type="parTrans" cxnId="{9FD12264-20E1-457C-ACC7-E8C2D3D1284F}">
      <dgm:prSet/>
      <dgm:spPr/>
      <dgm:t>
        <a:bodyPr/>
        <a:lstStyle/>
        <a:p>
          <a:endParaRPr lang="en-US"/>
        </a:p>
      </dgm:t>
    </dgm:pt>
    <dgm:pt modelId="{039C891D-54F3-4CDE-86A4-EFF02A44F163}" type="sibTrans" cxnId="{9FD12264-20E1-457C-ACC7-E8C2D3D1284F}">
      <dgm:prSet/>
      <dgm:spPr/>
      <dgm:t>
        <a:bodyPr/>
        <a:lstStyle/>
        <a:p>
          <a:endParaRPr lang="en-US"/>
        </a:p>
      </dgm:t>
    </dgm:pt>
    <dgm:pt modelId="{B2910904-4EA7-40C3-8A7C-8901EB9B5533}">
      <dgm:prSet custT="1"/>
      <dgm:spPr/>
      <dgm:t>
        <a:bodyPr/>
        <a:lstStyle/>
        <a:p>
          <a:r>
            <a:rPr lang="en-US" sz="1800" b="1" dirty="0"/>
            <a:t>Advocacy</a:t>
          </a:r>
        </a:p>
      </dgm:t>
    </dgm:pt>
    <dgm:pt modelId="{295A4741-B4D6-4FC2-B747-ED4A3BC46EB3}" type="parTrans" cxnId="{3FAA77AF-66E0-4F3A-A370-7A8A9C674D63}">
      <dgm:prSet/>
      <dgm:spPr/>
      <dgm:t>
        <a:bodyPr/>
        <a:lstStyle/>
        <a:p>
          <a:endParaRPr lang="en-US"/>
        </a:p>
      </dgm:t>
    </dgm:pt>
    <dgm:pt modelId="{79B255D3-DB14-4FD9-BD68-BE4E0407B352}" type="sibTrans" cxnId="{3FAA77AF-66E0-4F3A-A370-7A8A9C674D63}">
      <dgm:prSet/>
      <dgm:spPr/>
      <dgm:t>
        <a:bodyPr/>
        <a:lstStyle/>
        <a:p>
          <a:endParaRPr lang="en-US"/>
        </a:p>
      </dgm:t>
    </dgm:pt>
    <dgm:pt modelId="{807365FD-2575-4917-85EB-BD39E657C1E0}">
      <dgm:prSet custT="1"/>
      <dgm:spPr/>
      <dgm:t>
        <a:bodyPr/>
        <a:lstStyle/>
        <a:p>
          <a:r>
            <a:rPr lang="en-US" sz="1800" b="1" dirty="0"/>
            <a:t>Convening</a:t>
          </a:r>
        </a:p>
      </dgm:t>
    </dgm:pt>
    <dgm:pt modelId="{F03E1CFF-7B55-4664-9C32-65A3CD875FF4}" type="parTrans" cxnId="{C39E13BF-05B4-4FB2-BFAE-A81D676EE1B1}">
      <dgm:prSet/>
      <dgm:spPr/>
      <dgm:t>
        <a:bodyPr/>
        <a:lstStyle/>
        <a:p>
          <a:endParaRPr lang="en-US"/>
        </a:p>
      </dgm:t>
    </dgm:pt>
    <dgm:pt modelId="{3074B502-843F-4675-99FE-CA2A4AF691F7}" type="sibTrans" cxnId="{C39E13BF-05B4-4FB2-BFAE-A81D676EE1B1}">
      <dgm:prSet/>
      <dgm:spPr/>
      <dgm:t>
        <a:bodyPr/>
        <a:lstStyle/>
        <a:p>
          <a:endParaRPr lang="en-US"/>
        </a:p>
      </dgm:t>
    </dgm:pt>
    <dgm:pt modelId="{0FA1ABA8-8109-4D41-9E6B-96635AC95B84}">
      <dgm:prSet custT="1"/>
      <dgm:spPr/>
      <dgm:t>
        <a:bodyPr/>
        <a:lstStyle/>
        <a:p>
          <a:r>
            <a:rPr lang="en-US" sz="1800" b="1" dirty="0"/>
            <a:t>Research</a:t>
          </a:r>
        </a:p>
      </dgm:t>
    </dgm:pt>
    <dgm:pt modelId="{C5BEFEDF-FA58-41B6-8348-DA9368120C51}" type="parTrans" cxnId="{9211B8F2-D73A-4D3D-AA58-A7D2EDE613D7}">
      <dgm:prSet/>
      <dgm:spPr/>
      <dgm:t>
        <a:bodyPr/>
        <a:lstStyle/>
        <a:p>
          <a:endParaRPr lang="en-US"/>
        </a:p>
      </dgm:t>
    </dgm:pt>
    <dgm:pt modelId="{1349ACD4-8016-4EE1-B5A5-26094DA5D9D4}" type="sibTrans" cxnId="{9211B8F2-D73A-4D3D-AA58-A7D2EDE613D7}">
      <dgm:prSet/>
      <dgm:spPr/>
      <dgm:t>
        <a:bodyPr/>
        <a:lstStyle/>
        <a:p>
          <a:endParaRPr lang="en-US"/>
        </a:p>
      </dgm:t>
    </dgm:pt>
    <dgm:pt modelId="{F933CE38-BE83-44B2-AFB3-7A6FBD562A7D}">
      <dgm:prSet custT="1"/>
      <dgm:spPr/>
      <dgm:t>
        <a:bodyPr/>
        <a:lstStyle/>
        <a:p>
          <a:r>
            <a:rPr lang="en-US" sz="1800" b="1" dirty="0"/>
            <a:t>Capacity Building</a:t>
          </a:r>
        </a:p>
      </dgm:t>
    </dgm:pt>
    <dgm:pt modelId="{0A21E1C6-9C65-4C5F-9003-07CF3AACC2FB}" type="parTrans" cxnId="{3E52C6A3-9739-44D2-B71A-1CA22747FEE2}">
      <dgm:prSet/>
      <dgm:spPr/>
      <dgm:t>
        <a:bodyPr/>
        <a:lstStyle/>
        <a:p>
          <a:endParaRPr lang="en-US"/>
        </a:p>
      </dgm:t>
    </dgm:pt>
    <dgm:pt modelId="{21200164-A001-4F35-861C-CC3440EFA0C8}" type="sibTrans" cxnId="{3E52C6A3-9739-44D2-B71A-1CA22747FEE2}">
      <dgm:prSet/>
      <dgm:spPr/>
      <dgm:t>
        <a:bodyPr/>
        <a:lstStyle/>
        <a:p>
          <a:endParaRPr lang="en-US"/>
        </a:p>
      </dgm:t>
    </dgm:pt>
    <dgm:pt modelId="{A9BC1997-976F-4ECB-957D-7A18FB6E3880}" type="pres">
      <dgm:prSet presAssocID="{BD3F8EDE-1F6A-4D83-AACB-EF44D48A20B5}" presName="compositeShape" presStyleCnt="0">
        <dgm:presLayoutVars>
          <dgm:dir/>
          <dgm:resizeHandles/>
        </dgm:presLayoutVars>
      </dgm:prSet>
      <dgm:spPr/>
      <dgm:t>
        <a:bodyPr/>
        <a:lstStyle/>
        <a:p>
          <a:endParaRPr lang="en-US"/>
        </a:p>
      </dgm:t>
    </dgm:pt>
    <dgm:pt modelId="{2BC9F4DE-4504-447C-B366-B3CAF9B6930B}" type="pres">
      <dgm:prSet presAssocID="{BD3F8EDE-1F6A-4D83-AACB-EF44D48A20B5}" presName="pyramid" presStyleLbl="node1" presStyleIdx="0" presStyleCnt="1"/>
      <dgm:spPr/>
    </dgm:pt>
    <dgm:pt modelId="{E1073862-6693-4827-969A-6C689315CDC4}" type="pres">
      <dgm:prSet presAssocID="{BD3F8EDE-1F6A-4D83-AACB-EF44D48A20B5}" presName="theList" presStyleCnt="0"/>
      <dgm:spPr/>
    </dgm:pt>
    <dgm:pt modelId="{02F94632-0928-4BD0-9463-56CC55C8E825}" type="pres">
      <dgm:prSet presAssocID="{9832BCAC-31AC-4939-B195-7C82E0A711D9}" presName="aNode" presStyleLbl="fgAcc1" presStyleIdx="0" presStyleCnt="5" custScaleX="141091" custScaleY="550058" custLinFactY="-35003" custLinFactNeighborX="-3040" custLinFactNeighborY="-100000">
        <dgm:presLayoutVars>
          <dgm:bulletEnabled val="1"/>
        </dgm:presLayoutVars>
      </dgm:prSet>
      <dgm:spPr/>
      <dgm:t>
        <a:bodyPr/>
        <a:lstStyle/>
        <a:p>
          <a:endParaRPr lang="en-US"/>
        </a:p>
      </dgm:t>
    </dgm:pt>
    <dgm:pt modelId="{A76B1977-5050-40BF-B402-80253B0A8E61}" type="pres">
      <dgm:prSet presAssocID="{9832BCAC-31AC-4939-B195-7C82E0A711D9}" presName="aSpace" presStyleCnt="0"/>
      <dgm:spPr/>
    </dgm:pt>
    <dgm:pt modelId="{19997AD5-1A45-4B1A-872B-5F221EDDDD23}" type="pres">
      <dgm:prSet presAssocID="{B2910904-4EA7-40C3-8A7C-8901EB9B5533}" presName="aNode" presStyleLbl="fgAcc1" presStyleIdx="1" presStyleCnt="5" custScaleX="135971" custScaleY="601960" custLinFactY="-22300" custLinFactNeighborX="-3040" custLinFactNeighborY="-100000">
        <dgm:presLayoutVars>
          <dgm:bulletEnabled val="1"/>
        </dgm:presLayoutVars>
      </dgm:prSet>
      <dgm:spPr/>
      <dgm:t>
        <a:bodyPr/>
        <a:lstStyle/>
        <a:p>
          <a:endParaRPr lang="en-US"/>
        </a:p>
      </dgm:t>
    </dgm:pt>
    <dgm:pt modelId="{2EAFCC7E-4ECE-4683-B9F2-7114FBC3E537}" type="pres">
      <dgm:prSet presAssocID="{B2910904-4EA7-40C3-8A7C-8901EB9B5533}" presName="aSpace" presStyleCnt="0"/>
      <dgm:spPr/>
    </dgm:pt>
    <dgm:pt modelId="{AEEC3987-F9F8-4D68-93DD-7203BD0FB8A4}" type="pres">
      <dgm:prSet presAssocID="{F933CE38-BE83-44B2-AFB3-7A6FBD562A7D}" presName="aNode" presStyleLbl="fgAcc1" presStyleIdx="2" presStyleCnt="5" custScaleX="134074" custScaleY="655736" custLinFactY="-7025" custLinFactNeighborX="-3040" custLinFactNeighborY="-100000">
        <dgm:presLayoutVars>
          <dgm:bulletEnabled val="1"/>
        </dgm:presLayoutVars>
      </dgm:prSet>
      <dgm:spPr/>
      <dgm:t>
        <a:bodyPr/>
        <a:lstStyle/>
        <a:p>
          <a:endParaRPr lang="en-US"/>
        </a:p>
      </dgm:t>
    </dgm:pt>
    <dgm:pt modelId="{0C0F74C8-832D-48B7-B3BA-A59743886CE2}" type="pres">
      <dgm:prSet presAssocID="{F933CE38-BE83-44B2-AFB3-7A6FBD562A7D}" presName="aSpace" presStyleCnt="0"/>
      <dgm:spPr/>
    </dgm:pt>
    <dgm:pt modelId="{15A7B5BE-8250-4137-BA3E-9A92A43CD9BA}" type="pres">
      <dgm:prSet presAssocID="{807365FD-2575-4917-85EB-BD39E657C1E0}" presName="aNode" presStyleLbl="fgAcc1" presStyleIdx="3" presStyleCnt="5" custScaleX="136539" custScaleY="641925">
        <dgm:presLayoutVars>
          <dgm:bulletEnabled val="1"/>
        </dgm:presLayoutVars>
      </dgm:prSet>
      <dgm:spPr/>
      <dgm:t>
        <a:bodyPr/>
        <a:lstStyle/>
        <a:p>
          <a:endParaRPr lang="en-US"/>
        </a:p>
      </dgm:t>
    </dgm:pt>
    <dgm:pt modelId="{3943A1A0-3C53-48B7-9FB5-DEB7DB5C338F}" type="pres">
      <dgm:prSet presAssocID="{807365FD-2575-4917-85EB-BD39E657C1E0}" presName="aSpace" presStyleCnt="0"/>
      <dgm:spPr/>
    </dgm:pt>
    <dgm:pt modelId="{21932375-39DA-4EDD-8FD8-F7A743345582}" type="pres">
      <dgm:prSet presAssocID="{0FA1ABA8-8109-4D41-9E6B-96635AC95B84}" presName="aNode" presStyleLbl="fgAcc1" presStyleIdx="4" presStyleCnt="5" custScaleX="136539" custScaleY="629302">
        <dgm:presLayoutVars>
          <dgm:bulletEnabled val="1"/>
        </dgm:presLayoutVars>
      </dgm:prSet>
      <dgm:spPr/>
      <dgm:t>
        <a:bodyPr/>
        <a:lstStyle/>
        <a:p>
          <a:endParaRPr lang="en-US"/>
        </a:p>
      </dgm:t>
    </dgm:pt>
    <dgm:pt modelId="{ABFD82EE-144E-4039-BEEE-772F00BDAE1A}" type="pres">
      <dgm:prSet presAssocID="{0FA1ABA8-8109-4D41-9E6B-96635AC95B84}" presName="aSpace" presStyleCnt="0"/>
      <dgm:spPr/>
    </dgm:pt>
  </dgm:ptLst>
  <dgm:cxnLst>
    <dgm:cxn modelId="{7779ED73-0D7B-4216-B93B-F1EDCEC16BC7}" type="presOf" srcId="{0FA1ABA8-8109-4D41-9E6B-96635AC95B84}" destId="{21932375-39DA-4EDD-8FD8-F7A743345582}" srcOrd="0" destOrd="0" presId="urn:microsoft.com/office/officeart/2005/8/layout/pyramid2"/>
    <dgm:cxn modelId="{C6DC73FE-2630-421C-A062-6951C9B4218E}" type="presOf" srcId="{9832BCAC-31AC-4939-B195-7C82E0A711D9}" destId="{02F94632-0928-4BD0-9463-56CC55C8E825}" srcOrd="0" destOrd="0" presId="urn:microsoft.com/office/officeart/2005/8/layout/pyramid2"/>
    <dgm:cxn modelId="{7F584CB3-E2E2-41EF-8CDD-137107A604A5}" type="presOf" srcId="{807365FD-2575-4917-85EB-BD39E657C1E0}" destId="{15A7B5BE-8250-4137-BA3E-9A92A43CD9BA}" srcOrd="0" destOrd="0" presId="urn:microsoft.com/office/officeart/2005/8/layout/pyramid2"/>
    <dgm:cxn modelId="{9211B8F2-D73A-4D3D-AA58-A7D2EDE613D7}" srcId="{BD3F8EDE-1F6A-4D83-AACB-EF44D48A20B5}" destId="{0FA1ABA8-8109-4D41-9E6B-96635AC95B84}" srcOrd="4" destOrd="0" parTransId="{C5BEFEDF-FA58-41B6-8348-DA9368120C51}" sibTransId="{1349ACD4-8016-4EE1-B5A5-26094DA5D9D4}"/>
    <dgm:cxn modelId="{D21B8A30-B80F-44EE-B42F-B1B99587FC2E}" type="presOf" srcId="{B2910904-4EA7-40C3-8A7C-8901EB9B5533}" destId="{19997AD5-1A45-4B1A-872B-5F221EDDDD23}" srcOrd="0" destOrd="0" presId="urn:microsoft.com/office/officeart/2005/8/layout/pyramid2"/>
    <dgm:cxn modelId="{AB6D25D4-C79C-4AB1-B029-482987EAC489}" type="presOf" srcId="{F933CE38-BE83-44B2-AFB3-7A6FBD562A7D}" destId="{AEEC3987-F9F8-4D68-93DD-7203BD0FB8A4}" srcOrd="0" destOrd="0" presId="urn:microsoft.com/office/officeart/2005/8/layout/pyramid2"/>
    <dgm:cxn modelId="{3FAA77AF-66E0-4F3A-A370-7A8A9C674D63}" srcId="{BD3F8EDE-1F6A-4D83-AACB-EF44D48A20B5}" destId="{B2910904-4EA7-40C3-8A7C-8901EB9B5533}" srcOrd="1" destOrd="0" parTransId="{295A4741-B4D6-4FC2-B747-ED4A3BC46EB3}" sibTransId="{79B255D3-DB14-4FD9-BD68-BE4E0407B352}"/>
    <dgm:cxn modelId="{564AAE29-9CBE-40C3-A0D8-725282B52F0C}" type="presOf" srcId="{BD3F8EDE-1F6A-4D83-AACB-EF44D48A20B5}" destId="{A9BC1997-976F-4ECB-957D-7A18FB6E3880}" srcOrd="0" destOrd="0" presId="urn:microsoft.com/office/officeart/2005/8/layout/pyramid2"/>
    <dgm:cxn modelId="{9FD12264-20E1-457C-ACC7-E8C2D3D1284F}" srcId="{BD3F8EDE-1F6A-4D83-AACB-EF44D48A20B5}" destId="{9832BCAC-31AC-4939-B195-7C82E0A711D9}" srcOrd="0" destOrd="0" parTransId="{5255DEED-2B0E-4FA4-9A8C-FE14CD201556}" sibTransId="{039C891D-54F3-4CDE-86A4-EFF02A44F163}"/>
    <dgm:cxn modelId="{C39E13BF-05B4-4FB2-BFAE-A81D676EE1B1}" srcId="{BD3F8EDE-1F6A-4D83-AACB-EF44D48A20B5}" destId="{807365FD-2575-4917-85EB-BD39E657C1E0}" srcOrd="3" destOrd="0" parTransId="{F03E1CFF-7B55-4664-9C32-65A3CD875FF4}" sibTransId="{3074B502-843F-4675-99FE-CA2A4AF691F7}"/>
    <dgm:cxn modelId="{3E52C6A3-9739-44D2-B71A-1CA22747FEE2}" srcId="{BD3F8EDE-1F6A-4D83-AACB-EF44D48A20B5}" destId="{F933CE38-BE83-44B2-AFB3-7A6FBD562A7D}" srcOrd="2" destOrd="0" parTransId="{0A21E1C6-9C65-4C5F-9003-07CF3AACC2FB}" sibTransId="{21200164-A001-4F35-861C-CC3440EFA0C8}"/>
    <dgm:cxn modelId="{6D039F65-8DF5-4EAC-905E-762BDB55FE8A}" type="presParOf" srcId="{A9BC1997-976F-4ECB-957D-7A18FB6E3880}" destId="{2BC9F4DE-4504-447C-B366-B3CAF9B6930B}" srcOrd="0" destOrd="0" presId="urn:microsoft.com/office/officeart/2005/8/layout/pyramid2"/>
    <dgm:cxn modelId="{701F7FB8-EED3-4DD3-A86F-269612929BF2}" type="presParOf" srcId="{A9BC1997-976F-4ECB-957D-7A18FB6E3880}" destId="{E1073862-6693-4827-969A-6C689315CDC4}" srcOrd="1" destOrd="0" presId="urn:microsoft.com/office/officeart/2005/8/layout/pyramid2"/>
    <dgm:cxn modelId="{2FB5ED48-FB9F-40DE-BC16-092B99F0FE66}" type="presParOf" srcId="{E1073862-6693-4827-969A-6C689315CDC4}" destId="{02F94632-0928-4BD0-9463-56CC55C8E825}" srcOrd="0" destOrd="0" presId="urn:microsoft.com/office/officeart/2005/8/layout/pyramid2"/>
    <dgm:cxn modelId="{EBF562FF-3D59-4A2B-A064-A37CA02D22EA}" type="presParOf" srcId="{E1073862-6693-4827-969A-6C689315CDC4}" destId="{A76B1977-5050-40BF-B402-80253B0A8E61}" srcOrd="1" destOrd="0" presId="urn:microsoft.com/office/officeart/2005/8/layout/pyramid2"/>
    <dgm:cxn modelId="{B93C58B1-00DF-46E2-AC36-F7B250AF40AF}" type="presParOf" srcId="{E1073862-6693-4827-969A-6C689315CDC4}" destId="{19997AD5-1A45-4B1A-872B-5F221EDDDD23}" srcOrd="2" destOrd="0" presId="urn:microsoft.com/office/officeart/2005/8/layout/pyramid2"/>
    <dgm:cxn modelId="{BB4CE63D-9A23-4F6E-903F-DE92866CF10E}" type="presParOf" srcId="{E1073862-6693-4827-969A-6C689315CDC4}" destId="{2EAFCC7E-4ECE-4683-B9F2-7114FBC3E537}" srcOrd="3" destOrd="0" presId="urn:microsoft.com/office/officeart/2005/8/layout/pyramid2"/>
    <dgm:cxn modelId="{4C2323CD-E700-462E-86C4-202096BB7BCE}" type="presParOf" srcId="{E1073862-6693-4827-969A-6C689315CDC4}" destId="{AEEC3987-F9F8-4D68-93DD-7203BD0FB8A4}" srcOrd="4" destOrd="0" presId="urn:microsoft.com/office/officeart/2005/8/layout/pyramid2"/>
    <dgm:cxn modelId="{4C63122C-8C43-4716-9B2D-EA24ACEF3517}" type="presParOf" srcId="{E1073862-6693-4827-969A-6C689315CDC4}" destId="{0C0F74C8-832D-48B7-B3BA-A59743886CE2}" srcOrd="5" destOrd="0" presId="urn:microsoft.com/office/officeart/2005/8/layout/pyramid2"/>
    <dgm:cxn modelId="{1C1E5F6F-4601-4979-BA99-39C9FD5E5E6A}" type="presParOf" srcId="{E1073862-6693-4827-969A-6C689315CDC4}" destId="{15A7B5BE-8250-4137-BA3E-9A92A43CD9BA}" srcOrd="6" destOrd="0" presId="urn:microsoft.com/office/officeart/2005/8/layout/pyramid2"/>
    <dgm:cxn modelId="{3E73C7F5-890F-48C1-A342-8F5CE4FBD1C6}" type="presParOf" srcId="{E1073862-6693-4827-969A-6C689315CDC4}" destId="{3943A1A0-3C53-48B7-9FB5-DEB7DB5C338F}" srcOrd="7" destOrd="0" presId="urn:microsoft.com/office/officeart/2005/8/layout/pyramid2"/>
    <dgm:cxn modelId="{AE2C9CB5-1B52-4F49-B5F1-7DDB529C54D1}" type="presParOf" srcId="{E1073862-6693-4827-969A-6C689315CDC4}" destId="{21932375-39DA-4EDD-8FD8-F7A743345582}" srcOrd="8" destOrd="0" presId="urn:microsoft.com/office/officeart/2005/8/layout/pyramid2"/>
    <dgm:cxn modelId="{0F762DA8-7247-4F4D-B4A4-5146286FF251}" type="presParOf" srcId="{E1073862-6693-4827-969A-6C689315CDC4}" destId="{ABFD82EE-144E-4039-BEEE-772F00BDAE1A}" srcOrd="9" destOrd="0" presId="urn:microsoft.com/office/officeart/2005/8/layout/pyramid2"/>
  </dgm:cxnLst>
  <dgm:bg/>
  <dgm:whole>
    <a:ln w="57150">
      <a:solidFill>
        <a:schemeClr val="tx2"/>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C9F4DE-4504-447C-B366-B3CAF9B6930B}">
      <dsp:nvSpPr>
        <dsp:cNvPr id="0" name=""/>
        <dsp:cNvSpPr/>
      </dsp:nvSpPr>
      <dsp:spPr>
        <a:xfrm>
          <a:off x="1358512" y="0"/>
          <a:ext cx="2763961" cy="2763961"/>
        </a:xfrm>
        <a:prstGeom prst="triangl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2F94632-0928-4BD0-9463-56CC55C8E825}">
      <dsp:nvSpPr>
        <dsp:cNvPr id="0" name=""/>
        <dsp:cNvSpPr/>
      </dsp:nvSpPr>
      <dsp:spPr>
        <a:xfrm>
          <a:off x="2316762" y="244134"/>
          <a:ext cx="2534805" cy="38676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t>Innovation Funding</a:t>
          </a:r>
        </a:p>
      </dsp:txBody>
      <dsp:txXfrm>
        <a:off x="2335642" y="263014"/>
        <a:ext cx="2497045" cy="349005"/>
      </dsp:txXfrm>
    </dsp:sp>
    <dsp:sp modelId="{19997AD5-1A45-4B1A-872B-5F221EDDDD23}">
      <dsp:nvSpPr>
        <dsp:cNvPr id="0" name=""/>
        <dsp:cNvSpPr/>
      </dsp:nvSpPr>
      <dsp:spPr>
        <a:xfrm>
          <a:off x="2362754" y="648621"/>
          <a:ext cx="2442820" cy="423260"/>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t>Advocacy</a:t>
          </a:r>
        </a:p>
      </dsp:txBody>
      <dsp:txXfrm>
        <a:off x="2383416" y="669283"/>
        <a:ext cx="2401496" cy="381936"/>
      </dsp:txXfrm>
    </dsp:sp>
    <dsp:sp modelId="{AEEC3987-F9F8-4D68-93DD-7203BD0FB8A4}">
      <dsp:nvSpPr>
        <dsp:cNvPr id="0" name=""/>
        <dsp:cNvSpPr/>
      </dsp:nvSpPr>
      <dsp:spPr>
        <a:xfrm>
          <a:off x="2379795" y="1091411"/>
          <a:ext cx="2408739" cy="461071"/>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t>Capacity Building</a:t>
          </a:r>
        </a:p>
      </dsp:txBody>
      <dsp:txXfrm>
        <a:off x="2402303" y="1113919"/>
        <a:ext cx="2363723" cy="416055"/>
      </dsp:txXfrm>
    </dsp:sp>
    <dsp:sp modelId="{15A7B5BE-8250-4137-BA3E-9A92A43CD9BA}">
      <dsp:nvSpPr>
        <dsp:cNvPr id="0" name=""/>
        <dsp:cNvSpPr/>
      </dsp:nvSpPr>
      <dsp:spPr>
        <a:xfrm>
          <a:off x="2412268" y="1575000"/>
          <a:ext cx="2453025" cy="451360"/>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t>Convening</a:t>
          </a:r>
        </a:p>
      </dsp:txBody>
      <dsp:txXfrm>
        <a:off x="2434302" y="1597034"/>
        <a:ext cx="2408957" cy="407292"/>
      </dsp:txXfrm>
    </dsp:sp>
    <dsp:sp modelId="{21932375-39DA-4EDD-8FD8-F7A743345582}">
      <dsp:nvSpPr>
        <dsp:cNvPr id="0" name=""/>
        <dsp:cNvSpPr/>
      </dsp:nvSpPr>
      <dsp:spPr>
        <a:xfrm>
          <a:off x="2412268" y="2035151"/>
          <a:ext cx="2453025" cy="44248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t>Research</a:t>
          </a:r>
        </a:p>
      </dsp:txBody>
      <dsp:txXfrm>
        <a:off x="2433868" y="2056751"/>
        <a:ext cx="2409825" cy="399285"/>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BB21DDB-B1F3-4AE4-9B13-8560984D33CA}" type="datetimeFigureOut">
              <a:rPr lang="en-US" smtClean="0"/>
              <a:pPr/>
              <a:t>11/6/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181E1DC4-D0DB-4B14-9508-D49EB8D9239E}" type="slidenum">
              <a:rPr lang="en-US" smtClean="0"/>
              <a:pPr/>
              <a:t>‹#›</a:t>
            </a:fld>
            <a:endParaRPr lang="en-US"/>
          </a:p>
        </p:txBody>
      </p:sp>
    </p:spTree>
    <p:extLst>
      <p:ext uri="{BB962C8B-B14F-4D97-AF65-F5344CB8AC3E}">
        <p14:creationId xmlns:p14="http://schemas.microsoft.com/office/powerpoint/2010/main" val="1652847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Thank you, Mathieu, for that welcome.  And now I would like to add my welcome as well as my thanks.  Thank you so much for being here today to hear about the results of the country assessment carried out by UNCDF with the support of Dalberg Global Advisors on access and agency issues faced by women and girls in regard to financial services, and in translating their use into greater economic empowerment. </a:t>
            </a:r>
          </a:p>
          <a:p>
            <a:endParaRPr lang="en-US" dirty="0"/>
          </a:p>
          <a:p>
            <a:r>
              <a:rPr lang="en-US" dirty="0"/>
              <a:t>We are grateful to you not only for your presence today and willingness to join us the analysis of the findings  and recommendations that will lead to a </a:t>
            </a:r>
            <a:r>
              <a:rPr lang="en-US" dirty="0" err="1"/>
              <a:t>programme</a:t>
            </a:r>
            <a:r>
              <a:rPr lang="en-US" dirty="0"/>
              <a:t> design for here in Senegal, but also to </a:t>
            </a:r>
            <a:r>
              <a:rPr lang="en-US" dirty="0" err="1"/>
              <a:t>programmes</a:t>
            </a:r>
            <a:r>
              <a:rPr lang="en-US" dirty="0"/>
              <a:t> in Bangladesh, Ethiopia, Myanmar, and Tanzania. We hope that this will be valuable for you too, not only for the insights provided and recommendations offered, but also to think about your potential engagement with the initiative as a collaborating partner—whether as a partner in implementation, a recipient of an innovation grant, a beneficiary of capacity building, or a funder, or simply as a complement to your own strategy and work. You will have plenty of opportunities to engage and talk with us during the workshop—particularly in the second portion after the presentation.  And additionally we welcome follow up from you with our country team based here in Dakar, or with me based in New York at UNCDF HQ.</a:t>
            </a:r>
          </a:p>
          <a:p>
            <a:endParaRPr lang="en-US" dirty="0"/>
          </a:p>
          <a:p>
            <a:r>
              <a:rPr lang="en-US" dirty="0"/>
              <a:t>First, however, let me introduce and acknowledge the team from Dalberg Global Development Advisors who will be facilitating the workshop or have supported it.  First, </a:t>
            </a:r>
            <a:r>
              <a:rPr lang="en-US" dirty="0" err="1"/>
              <a:t>Marieme</a:t>
            </a:r>
            <a:r>
              <a:rPr lang="en-US" dirty="0"/>
              <a:t> Diallo, whom a number of you know, as she carried out the Country Assessment here in Senegal under Project Manager, Tania Beard, and Partner, Madji Sock.  In addition, there were a number of other Dalberg staff who contributed greatly to the development of the Country Assessment Toolkit, as well as the assessments in Senegal and the other four countries.   </a:t>
            </a:r>
          </a:p>
          <a:p>
            <a:endParaRPr lang="en-US" dirty="0"/>
          </a:p>
          <a:p>
            <a:r>
              <a:rPr lang="en-US" dirty="0"/>
              <a:t>Next, I want to acknowledge our in-country colleagues and team whom many of you know and have made this possible.  Maria Perdomo—leading our work with youth in Senegal and elsewhere in Africa. Sabine Mensah—leading our DFS work in Senegal and other West African countries.  Jean Pascal Mvondo—leading BTCA engagements with Senegal and with other Francophone countries.  And I would like to take this opportunity to thank other colleagues for all the support they have provided relating to the country assessment and/or this workshop: Arianna Gasparri, Elisa Benevelli, Aminata Gueye, and Bery Kandji.  Not to mention the support of our consultant, Katherine Miles who is cheering us on from her base in the UK. </a:t>
            </a:r>
          </a:p>
        </p:txBody>
      </p:sp>
      <p:sp>
        <p:nvSpPr>
          <p:cNvPr id="4" name="Slide Number Placeholder 3"/>
          <p:cNvSpPr>
            <a:spLocks noGrp="1"/>
          </p:cNvSpPr>
          <p:nvPr>
            <p:ph type="sldNum" sz="quarter" idx="10"/>
          </p:nvPr>
        </p:nvSpPr>
        <p:spPr/>
        <p:txBody>
          <a:bodyPr/>
          <a:lstStyle/>
          <a:p>
            <a:fld id="{181E1DC4-D0DB-4B14-9508-D49EB8D9239E}" type="slidenum">
              <a:rPr lang="en-US" smtClean="0"/>
              <a:pPr/>
              <a:t>1</a:t>
            </a:fld>
            <a:endParaRPr lang="en-US"/>
          </a:p>
        </p:txBody>
      </p:sp>
    </p:spTree>
    <p:extLst>
      <p:ext uri="{BB962C8B-B14F-4D97-AF65-F5344CB8AC3E}">
        <p14:creationId xmlns:p14="http://schemas.microsoft.com/office/powerpoint/2010/main" val="2405371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2</a:t>
            </a:fld>
            <a:endParaRPr lang="en-US"/>
          </a:p>
        </p:txBody>
      </p:sp>
    </p:spTree>
    <p:extLst>
      <p:ext uri="{BB962C8B-B14F-4D97-AF65-F5344CB8AC3E}">
        <p14:creationId xmlns:p14="http://schemas.microsoft.com/office/powerpoint/2010/main" val="2629291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1" u="none" strike="noStrike" kern="0" cap="none" spc="0" normalizeH="0" baseline="0" noProof="0" dirty="0">
                <a:ln>
                  <a:noFill/>
                </a:ln>
                <a:solidFill>
                  <a:schemeClr val="tx1"/>
                </a:solidFill>
                <a:effectLst/>
                <a:uLnTx/>
                <a:uFillTx/>
              </a:rPr>
              <a:t>Spheres of influenc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1" u="none" strike="noStrike" kern="0" cap="none" spc="0" normalizeH="0" baseline="0" noProof="0" dirty="0">
                <a:ln>
                  <a:noFill/>
                </a:ln>
                <a:solidFill>
                  <a:schemeClr val="tx1"/>
                </a:solidFill>
                <a:effectLst/>
                <a:uLnTx/>
                <a:uFillTx/>
              </a:rPr>
              <a:t>Enabling environment: </a:t>
            </a:r>
            <a:r>
              <a:rPr kumimoji="0" lang="en-US" sz="1200" b="0" i="1" u="none" strike="noStrike" kern="0" cap="none" spc="0" normalizeH="0" baseline="0" noProof="0" dirty="0">
                <a:ln>
                  <a:noFill/>
                </a:ln>
                <a:solidFill>
                  <a:schemeClr val="tx1"/>
                </a:solidFill>
                <a:effectLst/>
                <a:uLnTx/>
                <a:uFillTx/>
              </a:rPr>
              <a:t>The existence and implementation of </a:t>
            </a:r>
            <a:r>
              <a:rPr kumimoji="0" lang="en-US" sz="1200" b="1" i="1" u="none" strike="noStrike" kern="0" cap="none" spc="0" normalizeH="0" baseline="0" noProof="0" dirty="0">
                <a:ln>
                  <a:noFill/>
                </a:ln>
                <a:solidFill>
                  <a:schemeClr val="tx1"/>
                </a:solidFill>
                <a:effectLst/>
                <a:uLnTx/>
                <a:uFillTx/>
              </a:rPr>
              <a:t>laws, regulatory frameworks, and services </a:t>
            </a:r>
            <a:r>
              <a:rPr kumimoji="0" lang="en-US" sz="1200" b="0" i="1" u="none" strike="noStrike" kern="0" cap="none" spc="0" normalizeH="0" baseline="0" noProof="0" dirty="0">
                <a:ln>
                  <a:noFill/>
                </a:ln>
                <a:solidFill>
                  <a:schemeClr val="tx1"/>
                </a:solidFill>
                <a:effectLst/>
                <a:uLnTx/>
                <a:uFillTx/>
              </a:rPr>
              <a:t>that the state provides, which are influenced by international regulations.</a:t>
            </a:r>
            <a:r>
              <a:rPr kumimoji="0" lang="en-US" sz="1200" b="0" i="1" u="none" strike="noStrike" kern="0" cap="none" spc="0" normalizeH="0" baseline="30000" noProof="0" dirty="0">
                <a:ln>
                  <a:noFill/>
                </a:ln>
                <a:solidFill>
                  <a:schemeClr val="tx1"/>
                </a:solidFill>
                <a:effectLst/>
                <a:uLnTx/>
                <a:uFillTx/>
              </a:rPr>
              <a:t>1</a:t>
            </a:r>
            <a:r>
              <a:rPr kumimoji="0" lang="en-US" sz="1200" b="0" i="1" u="none" strike="noStrike" kern="0" cap="none" spc="0" normalizeH="0" baseline="0" noProof="0" dirty="0">
                <a:ln>
                  <a:noFill/>
                </a:ln>
                <a:solidFill>
                  <a:schemeClr val="tx1"/>
                </a:solidFill>
                <a:effectLst/>
                <a:uLnTx/>
                <a:uFillTx/>
              </a:rPr>
              <a:t> These in turn shape the </a:t>
            </a:r>
            <a:r>
              <a:rPr kumimoji="0" lang="en-US" sz="1200" b="1" i="1" u="none" strike="noStrike" kern="0" cap="none" spc="0" normalizeH="0" baseline="0" noProof="0" dirty="0">
                <a:ln>
                  <a:noFill/>
                </a:ln>
                <a:solidFill>
                  <a:schemeClr val="tx1"/>
                </a:solidFill>
                <a:effectLst/>
                <a:uLnTx/>
                <a:uFillTx/>
              </a:rPr>
              <a:t>business environment </a:t>
            </a:r>
            <a:r>
              <a:rPr kumimoji="0" lang="en-US" sz="1200" b="0" i="1" u="none" strike="noStrike" kern="0" cap="none" spc="0" normalizeH="0" baseline="0" noProof="0" dirty="0">
                <a:ln>
                  <a:noFill/>
                </a:ln>
                <a:solidFill>
                  <a:schemeClr val="tx1"/>
                </a:solidFill>
                <a:effectLst/>
                <a:uLnTx/>
                <a:uFillTx/>
              </a:rPr>
              <a:t>in which market actors operate. </a:t>
            </a:r>
            <a:r>
              <a:rPr lang="en-US" sz="1200" i="1" kern="0" noProof="0" dirty="0">
                <a:solidFill>
                  <a:schemeClr val="tx1"/>
                </a:solidFill>
              </a:rPr>
              <a:t>This sphere of influence covers elements of indirect relevance to FI e.g. inheritance law</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1" u="none" strike="noStrike" kern="0" cap="none" spc="0" normalizeH="0" baseline="0" noProof="0" dirty="0">
                <a:ln>
                  <a:noFill/>
                </a:ln>
                <a:solidFill>
                  <a:schemeClr val="tx1"/>
                </a:solidFill>
                <a:effectLst/>
                <a:uLnTx/>
                <a:uFillTx/>
              </a:rPr>
              <a:t>Supply: </a:t>
            </a:r>
            <a:r>
              <a:rPr kumimoji="0" lang="en-US" sz="1200" b="0" i="1" u="none" strike="noStrike" kern="0" cap="none" spc="0" normalizeH="0" baseline="0" noProof="0" dirty="0">
                <a:ln>
                  <a:noFill/>
                </a:ln>
                <a:solidFill>
                  <a:schemeClr val="tx1"/>
                </a:solidFill>
                <a:effectLst/>
                <a:uLnTx/>
                <a:uFillTx/>
              </a:rPr>
              <a:t>The </a:t>
            </a:r>
            <a:r>
              <a:rPr kumimoji="0" lang="en-US" sz="1200" b="1" i="1" u="none" strike="noStrike" kern="0" cap="none" spc="0" normalizeH="0" baseline="0" noProof="0" dirty="0">
                <a:ln>
                  <a:noFill/>
                </a:ln>
                <a:solidFill>
                  <a:schemeClr val="tx1"/>
                </a:solidFill>
                <a:effectLst/>
                <a:uLnTx/>
                <a:uFillTx/>
              </a:rPr>
              <a:t>suppliers of financial products and services</a:t>
            </a:r>
            <a:r>
              <a:rPr lang="en-US" sz="1200" i="1" kern="0" dirty="0">
                <a:solidFill>
                  <a:schemeClr val="tx1"/>
                </a:solidFill>
              </a:rPr>
              <a:t>, and supporting market actors. </a:t>
            </a:r>
            <a:r>
              <a:rPr kumimoji="0" lang="en-US" sz="1200" b="0" i="1" u="none" strike="noStrike" kern="0" cap="none" spc="0" normalizeH="0" baseline="0" noProof="0" dirty="0">
                <a:ln>
                  <a:noFill/>
                </a:ln>
                <a:solidFill>
                  <a:schemeClr val="tx1"/>
                </a:solidFill>
                <a:effectLst/>
                <a:uLnTx/>
                <a:uFillTx/>
              </a:rPr>
              <a:t>Markets can be influenced and shaped by policy, infrastructure and social norms.</a:t>
            </a:r>
            <a:endParaRPr kumimoji="0" lang="en-GB" sz="1200" b="0" i="1" u="none" strike="noStrike" kern="0" cap="none" spc="0" normalizeH="0" baseline="0" noProof="0" dirty="0">
              <a:ln>
                <a:noFill/>
              </a:ln>
              <a:solidFill>
                <a:schemeClr val="tx1"/>
              </a:solidFill>
              <a:effectLst/>
              <a:uLnTx/>
              <a:uFillTx/>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200" b="1" i="1" kern="0" noProof="0" dirty="0">
                <a:solidFill>
                  <a:schemeClr val="tx1"/>
                </a:solidFill>
              </a:rPr>
              <a:t>Demand: </a:t>
            </a:r>
            <a:r>
              <a:rPr kumimoji="0" lang="en-GB" sz="1200" b="0" i="1" u="none" strike="noStrike" kern="0" cap="none" spc="0" normalizeH="0" baseline="0" noProof="0" dirty="0">
                <a:ln>
                  <a:noFill/>
                </a:ln>
                <a:solidFill>
                  <a:schemeClr val="tx1"/>
                </a:solidFill>
                <a:effectLst/>
                <a:uLnTx/>
                <a:uFillTx/>
              </a:rPr>
              <a:t>Women and girls’ demand</a:t>
            </a:r>
            <a:r>
              <a:rPr kumimoji="0" lang="en-GB" sz="1200" b="0" i="1" u="none" strike="noStrike" kern="0" cap="none" spc="0" normalizeH="0" noProof="0" dirty="0">
                <a:ln>
                  <a:noFill/>
                </a:ln>
                <a:solidFill>
                  <a:schemeClr val="tx1"/>
                </a:solidFill>
                <a:effectLst/>
                <a:uLnTx/>
                <a:uFillTx/>
              </a:rPr>
              <a:t> </a:t>
            </a:r>
            <a:r>
              <a:rPr kumimoji="0" lang="en-GB" sz="1200" b="0" i="1" u="none" strike="noStrike" kern="0" cap="none" spc="0" normalizeH="0" noProof="0" dirty="0" err="1">
                <a:ln>
                  <a:noFill/>
                </a:ln>
                <a:solidFill>
                  <a:schemeClr val="tx1"/>
                </a:solidFill>
                <a:effectLst/>
                <a:uLnTx/>
                <a:uFillTx/>
              </a:rPr>
              <a:t>fo</a:t>
            </a:r>
            <a:r>
              <a:rPr lang="en-GB" sz="1200" i="1" kern="0" dirty="0">
                <a:solidFill>
                  <a:schemeClr val="tx1"/>
                </a:solidFill>
              </a:rPr>
              <a:t>r financial products and services is shaped by </a:t>
            </a:r>
            <a:r>
              <a:rPr kumimoji="0" lang="en-GB" sz="1200" b="1" i="1" u="none" strike="noStrike" kern="0" cap="none" spc="0" normalizeH="0" baseline="0" noProof="0" dirty="0">
                <a:ln>
                  <a:noFill/>
                </a:ln>
                <a:solidFill>
                  <a:schemeClr val="tx1"/>
                </a:solidFill>
                <a:effectLst/>
                <a:uLnTx/>
                <a:uFillTx/>
              </a:rPr>
              <a:t>intrahousehold decision-making, behaviour,</a:t>
            </a:r>
            <a:r>
              <a:rPr kumimoji="0" lang="en-GB" sz="1200" i="1" u="none" strike="noStrike" kern="0" cap="none" spc="0" normalizeH="0" baseline="0" noProof="0" dirty="0">
                <a:ln>
                  <a:noFill/>
                </a:ln>
                <a:solidFill>
                  <a:schemeClr val="tx1"/>
                </a:solidFill>
                <a:effectLst/>
                <a:uLnTx/>
                <a:uFillTx/>
              </a:rPr>
              <a:t> </a:t>
            </a:r>
            <a:r>
              <a:rPr kumimoji="0" lang="en-GB" sz="1200" b="1" i="1" u="none" strike="noStrike" kern="0" cap="none" spc="0" normalizeH="0" baseline="0" noProof="0" dirty="0">
                <a:ln>
                  <a:noFill/>
                </a:ln>
                <a:solidFill>
                  <a:schemeClr val="tx1"/>
                </a:solidFill>
                <a:effectLst/>
                <a:uLnTx/>
                <a:uFillTx/>
              </a:rPr>
              <a:t>division of labour </a:t>
            </a:r>
            <a:r>
              <a:rPr lang="en-GB" sz="1200" i="1" kern="0" dirty="0">
                <a:solidFill>
                  <a:schemeClr val="tx1"/>
                </a:solidFill>
              </a:rPr>
              <a:t>and </a:t>
            </a:r>
            <a:r>
              <a:rPr lang="en-GB" sz="1200" b="1" i="1" kern="0" dirty="0">
                <a:solidFill>
                  <a:schemeClr val="tx1"/>
                </a:solidFill>
              </a:rPr>
              <a:t>lifecycle needs. </a:t>
            </a:r>
            <a:r>
              <a:rPr kumimoji="0" lang="en-GB" sz="1200" b="0" i="1" u="none" strike="noStrike" kern="0" cap="none" spc="0" normalizeH="0" noProof="0" dirty="0">
                <a:ln>
                  <a:noFill/>
                </a:ln>
                <a:solidFill>
                  <a:schemeClr val="tx1"/>
                </a:solidFill>
                <a:effectLst/>
                <a:uLnTx/>
                <a:uFillTx/>
              </a:rPr>
              <a:t>e.g. </a:t>
            </a:r>
            <a:r>
              <a:rPr kumimoji="0" lang="en-GB" sz="1200" b="0" i="1" u="none" strike="noStrike" kern="0" cap="none" spc="0" normalizeH="0" baseline="0" noProof="0" dirty="0">
                <a:ln>
                  <a:noFill/>
                </a:ln>
                <a:solidFill>
                  <a:schemeClr val="tx1"/>
                </a:solidFill>
                <a:effectLst/>
                <a:uLnTx/>
                <a:uFillTx/>
              </a:rPr>
              <a:t>time </a:t>
            </a:r>
            <a:r>
              <a:rPr lang="en-GB" sz="1200" i="1" kern="0" dirty="0">
                <a:solidFill>
                  <a:schemeClr val="tx1"/>
                </a:solidFill>
              </a:rPr>
              <a:t>poverty</a:t>
            </a:r>
            <a:r>
              <a:rPr kumimoji="0" lang="en-GB" sz="1200" b="0" i="1" u="none" strike="noStrike" kern="0" cap="none" spc="0" normalizeH="0" baseline="0" noProof="0" dirty="0">
                <a:ln>
                  <a:noFill/>
                </a:ln>
                <a:solidFill>
                  <a:schemeClr val="tx1"/>
                </a:solidFill>
                <a:effectLst/>
                <a:uLnTx/>
                <a:uFillTx/>
              </a:rPr>
              <a:t> that women face as a result of women’s </a:t>
            </a:r>
            <a:r>
              <a:rPr kumimoji="0" lang="en-GB" sz="1200" b="1" i="1" u="none" strike="noStrike" kern="0" cap="none" spc="0" normalizeH="0" baseline="0" noProof="0" dirty="0">
                <a:ln>
                  <a:noFill/>
                </a:ln>
                <a:solidFill>
                  <a:schemeClr val="tx1"/>
                </a:solidFill>
                <a:effectLst/>
                <a:uLnTx/>
                <a:uFillTx/>
              </a:rPr>
              <a:t>unpaid</a:t>
            </a:r>
            <a:r>
              <a:rPr kumimoji="0" lang="en-GB" sz="1200" b="1" i="1" u="none" strike="noStrike" kern="0" cap="none" spc="0" normalizeH="0" noProof="0" dirty="0">
                <a:ln>
                  <a:noFill/>
                </a:ln>
                <a:solidFill>
                  <a:schemeClr val="tx1"/>
                </a:solidFill>
                <a:effectLst/>
                <a:uLnTx/>
                <a:uFillTx/>
              </a:rPr>
              <a:t> care work</a:t>
            </a:r>
            <a:endParaRPr lang="en-US" sz="1200" i="1" kern="0" noProof="0" dirty="0">
              <a:solidFill>
                <a:schemeClr val="tx1"/>
              </a:solidFill>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200" b="1" i="1" kern="0" dirty="0">
                <a:solidFill>
                  <a:schemeClr val="tx1"/>
                </a:solidFill>
              </a:rPr>
              <a:t>Socio-cultural context (cross-cutting): </a:t>
            </a:r>
            <a:r>
              <a:rPr lang="en-US" sz="1200" i="1" kern="0" dirty="0">
                <a:solidFill>
                  <a:schemeClr val="tx1"/>
                </a:solidFill>
              </a:rPr>
              <a:t>Norms resulting from shared beliefs that </a:t>
            </a:r>
            <a:r>
              <a:rPr lang="en-US" sz="1200" b="1" i="1" kern="0" dirty="0">
                <a:solidFill>
                  <a:schemeClr val="tx1"/>
                </a:solidFill>
              </a:rPr>
              <a:t>shape social interactions and define gender roles. </a:t>
            </a:r>
            <a:r>
              <a:rPr lang="en-US" sz="1200" i="1" kern="0" dirty="0">
                <a:solidFill>
                  <a:schemeClr val="tx1"/>
                </a:solidFill>
              </a:rPr>
              <a:t>These are enforced by informal social sanctions. Such dynamics underpin biases across each of the other spheres and influence women’s participation across each cog.</a:t>
            </a:r>
            <a:endParaRPr lang="en-ZA" sz="1200" i="1" kern="0" dirty="0">
              <a:solidFill>
                <a:schemeClr val="tx1"/>
              </a:solidFill>
            </a:endParaRPr>
          </a:p>
          <a:p>
            <a:pPr algn="l">
              <a:spcAft>
                <a:spcPts val="1200"/>
              </a:spcAft>
            </a:pPr>
            <a:endParaRPr lang="en-ZA" b="1" dirty="0">
              <a:solidFill>
                <a:schemeClr val="tx1"/>
              </a:solidFill>
            </a:endParaRPr>
          </a:p>
          <a:p>
            <a:pPr algn="l">
              <a:spcAft>
                <a:spcPts val="1200"/>
              </a:spcAft>
            </a:pPr>
            <a:r>
              <a:rPr lang="en-ZA" b="1" dirty="0">
                <a:solidFill>
                  <a:schemeClr val="tx1"/>
                </a:solidFill>
              </a:rPr>
              <a:t>Financial inclusion</a:t>
            </a:r>
          </a:p>
          <a:p>
            <a:pPr algn="l">
              <a:spcAft>
                <a:spcPts val="1200"/>
              </a:spcAft>
            </a:pPr>
            <a:r>
              <a:rPr lang="en-ZA" dirty="0">
                <a:solidFill>
                  <a:schemeClr val="tx1"/>
                </a:solidFill>
              </a:rPr>
              <a:t>Financial inclusion is achieved when all individuals and businesses have access to and can effectively use a broad range of quality, adapted financial services that are provided responsibly, and at reasonable cost, by sustainable institutions in a well-regulated environment.</a:t>
            </a:r>
          </a:p>
          <a:p>
            <a:pPr algn="l">
              <a:spcAft>
                <a:spcPts val="1200"/>
              </a:spcAft>
            </a:pPr>
            <a:r>
              <a:rPr lang="en-ZA" dirty="0">
                <a:solidFill>
                  <a:schemeClr val="tx1"/>
                </a:solidFill>
              </a:rPr>
              <a:t>Three critical components to consider when measuring Financial Inclusion are</a:t>
            </a:r>
            <a:r>
              <a:rPr lang="en-ZA" b="1" dirty="0">
                <a:solidFill>
                  <a:schemeClr val="tx1"/>
                </a:solidFill>
              </a:rPr>
              <a:t> access</a:t>
            </a:r>
            <a:r>
              <a:rPr lang="en-ZA" dirty="0">
                <a:solidFill>
                  <a:schemeClr val="tx1"/>
                </a:solidFill>
              </a:rPr>
              <a:t>, </a:t>
            </a:r>
            <a:r>
              <a:rPr lang="en-ZA" b="1" dirty="0">
                <a:solidFill>
                  <a:schemeClr val="tx1"/>
                </a:solidFill>
              </a:rPr>
              <a:t>usage</a:t>
            </a:r>
            <a:r>
              <a:rPr lang="en-ZA" dirty="0">
                <a:solidFill>
                  <a:schemeClr val="tx1"/>
                </a:solidFill>
              </a:rPr>
              <a:t> and </a:t>
            </a:r>
            <a:r>
              <a:rPr lang="en-ZA" b="1" dirty="0">
                <a:solidFill>
                  <a:schemeClr val="tx1"/>
                </a:solidFill>
              </a:rPr>
              <a:t>quality</a:t>
            </a:r>
            <a:r>
              <a:rPr lang="en-ZA" dirty="0">
                <a:solidFill>
                  <a:schemeClr val="tx1"/>
                </a:solidFill>
              </a:rPr>
              <a:t>.</a:t>
            </a:r>
            <a:r>
              <a:rPr lang="en-ZA" baseline="30000" dirty="0">
                <a:solidFill>
                  <a:schemeClr val="tx1"/>
                </a:solidFill>
              </a:rPr>
              <a:t>1</a:t>
            </a:r>
            <a:endParaRPr lang="en-ZA" dirty="0">
              <a:solidFill>
                <a:schemeClr val="tx1"/>
              </a:solidFill>
            </a:endParaRPr>
          </a:p>
          <a:p>
            <a:pPr algn="l">
              <a:spcAft>
                <a:spcPts val="1200"/>
              </a:spcAft>
            </a:pPr>
            <a:endParaRPr lang="en-ZA" b="1" dirty="0">
              <a:solidFill>
                <a:schemeClr val="tx1"/>
              </a:solidFill>
            </a:endParaRPr>
          </a:p>
          <a:p>
            <a:pPr algn="l">
              <a:spcAft>
                <a:spcPts val="1200"/>
              </a:spcAft>
            </a:pPr>
            <a:r>
              <a:rPr lang="en-ZA" b="1" dirty="0">
                <a:solidFill>
                  <a:schemeClr val="tx1"/>
                </a:solidFill>
              </a:rPr>
              <a:t>Women and Girls</a:t>
            </a:r>
          </a:p>
          <a:p>
            <a:pPr algn="l">
              <a:spcAft>
                <a:spcPts val="1200"/>
              </a:spcAft>
            </a:pPr>
            <a:r>
              <a:rPr lang="en-ZA" dirty="0">
                <a:solidFill>
                  <a:schemeClr val="tx1"/>
                </a:solidFill>
              </a:rPr>
              <a:t>The gender identity to which a person holds, which is typically identified by their biological sex. The distinction between women and girls is age; girls fall between the age of 10 and 24.</a:t>
            </a:r>
            <a:endParaRPr lang="en-ZA" baseline="30000" dirty="0">
              <a:solidFill>
                <a:schemeClr val="tx1"/>
              </a:solidFill>
            </a:endParaRPr>
          </a:p>
          <a:p>
            <a:pPr algn="l">
              <a:spcAft>
                <a:spcPts val="1200"/>
              </a:spcAft>
            </a:pPr>
            <a:endParaRPr lang="en-ZA" b="1" dirty="0">
              <a:solidFill>
                <a:schemeClr val="tx1"/>
              </a:solidFill>
            </a:endParaRPr>
          </a:p>
          <a:p>
            <a:pPr algn="l">
              <a:spcAft>
                <a:spcPts val="1200"/>
              </a:spcAft>
            </a:pPr>
            <a:r>
              <a:rPr lang="en-ZA" b="1" dirty="0">
                <a:solidFill>
                  <a:schemeClr val="tx1"/>
                </a:solidFill>
              </a:rPr>
              <a:t>Women’s economic empowerment (WEE)</a:t>
            </a:r>
            <a:endParaRPr lang="en-ZA" dirty="0">
              <a:solidFill>
                <a:schemeClr val="tx1"/>
              </a:solidFill>
            </a:endParaRPr>
          </a:p>
          <a:p>
            <a:pPr marL="0" indent="0" algn="l">
              <a:buFont typeface="Arial" panose="020B0604020202020204" pitchFamily="34" charset="0"/>
              <a:buNone/>
            </a:pPr>
            <a:r>
              <a:rPr lang="en-ZA" dirty="0">
                <a:solidFill>
                  <a:schemeClr val="tx1"/>
                </a:solidFill>
              </a:rPr>
              <a:t>Women’s economic empowerment is achieved when women and girls, first and foremost in LDCs, gain the </a:t>
            </a:r>
            <a:r>
              <a:rPr lang="en-ZA" b="1" dirty="0">
                <a:solidFill>
                  <a:schemeClr val="tx1"/>
                </a:solidFill>
              </a:rPr>
              <a:t>resources and skills </a:t>
            </a:r>
            <a:r>
              <a:rPr lang="en-ZA" dirty="0">
                <a:solidFill>
                  <a:schemeClr val="tx1"/>
                </a:solidFill>
              </a:rPr>
              <a:t>to </a:t>
            </a:r>
            <a:r>
              <a:rPr lang="en-ZA" b="1" dirty="0">
                <a:solidFill>
                  <a:schemeClr val="tx1"/>
                </a:solidFill>
              </a:rPr>
              <a:t>equally access economic opportunities </a:t>
            </a:r>
            <a:r>
              <a:rPr lang="en-ZA" dirty="0">
                <a:solidFill>
                  <a:schemeClr val="tx1"/>
                </a:solidFill>
              </a:rPr>
              <a:t>in the market, as well as the </a:t>
            </a:r>
            <a:r>
              <a:rPr lang="en-ZA" b="1" dirty="0">
                <a:solidFill>
                  <a:schemeClr val="tx1"/>
                </a:solidFill>
              </a:rPr>
              <a:t>agency </a:t>
            </a:r>
            <a:r>
              <a:rPr lang="en-ZA" dirty="0">
                <a:solidFill>
                  <a:schemeClr val="tx1"/>
                </a:solidFill>
              </a:rPr>
              <a:t>to use and control the benefits of participating in the market. This is enabled by </a:t>
            </a:r>
            <a:r>
              <a:rPr lang="en-ZA" b="1" dirty="0">
                <a:solidFill>
                  <a:schemeClr val="tx1"/>
                </a:solidFill>
              </a:rPr>
              <a:t>policy and infrastructure</a:t>
            </a:r>
            <a:r>
              <a:rPr lang="en-ZA" dirty="0">
                <a:solidFill>
                  <a:schemeClr val="tx1"/>
                </a:solidFill>
              </a:rPr>
              <a:t>, </a:t>
            </a:r>
            <a:r>
              <a:rPr lang="en-ZA" b="1" dirty="0">
                <a:solidFill>
                  <a:schemeClr val="tx1"/>
                </a:solidFill>
              </a:rPr>
              <a:t>equitable markets</a:t>
            </a:r>
            <a:r>
              <a:rPr lang="en-ZA" dirty="0">
                <a:solidFill>
                  <a:schemeClr val="tx1"/>
                </a:solidFill>
              </a:rPr>
              <a:t> and </a:t>
            </a:r>
            <a:r>
              <a:rPr lang="en-ZA" b="1" dirty="0">
                <a:solidFill>
                  <a:schemeClr val="tx1"/>
                </a:solidFill>
              </a:rPr>
              <a:t>social norms </a:t>
            </a:r>
            <a:r>
              <a:rPr lang="en-ZA" dirty="0">
                <a:solidFill>
                  <a:schemeClr val="tx1"/>
                </a:solidFill>
              </a:rPr>
              <a:t>that allow women and men to reach their potential.</a:t>
            </a:r>
            <a:r>
              <a:rPr lang="en-ZA" i="1" dirty="0">
                <a:solidFill>
                  <a:schemeClr val="tx1"/>
                </a:solidFill>
              </a:rPr>
              <a:t> </a:t>
            </a:r>
            <a:endParaRPr lang="en-ZA"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defTabSz="931774">
              <a:defRPr/>
            </a:pPr>
            <a:fld id="{D4B2AE5C-F5D2-4389-A35A-7618DE5C24AB}" type="slidenum">
              <a:rPr lang="en-US" sz="1800" kern="0">
                <a:solidFill>
                  <a:sysClr val="windowText" lastClr="000000"/>
                </a:solidFill>
              </a:rPr>
              <a:pPr defTabSz="931774">
                <a:defRPr/>
              </a:pPr>
              <a:t>5</a:t>
            </a:fld>
            <a:endParaRPr lang="en-US" sz="1800" kern="0" dirty="0">
              <a:solidFill>
                <a:sysClr val="windowText" lastClr="000000"/>
              </a:solidFill>
            </a:endParaRPr>
          </a:p>
        </p:txBody>
      </p:sp>
    </p:spTree>
    <p:extLst>
      <p:ext uri="{BB962C8B-B14F-4D97-AF65-F5344CB8AC3E}">
        <p14:creationId xmlns:p14="http://schemas.microsoft.com/office/powerpoint/2010/main" val="1572847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solidFill>
                  <a:schemeClr val="tx1"/>
                </a:solidFill>
              </a:rPr>
              <a:t>It is not very helpful to talk about the “women’s segment”—women are half the population, and their needs are as differentiated as men’s!  In the </a:t>
            </a:r>
            <a:r>
              <a:rPr lang="en-ZA" sz="1200" dirty="0" err="1">
                <a:solidFill>
                  <a:schemeClr val="tx1"/>
                </a:solidFill>
              </a:rPr>
              <a:t>PoWER</a:t>
            </a:r>
            <a:r>
              <a:rPr lang="en-ZA" sz="1200" dirty="0">
                <a:solidFill>
                  <a:schemeClr val="tx1"/>
                </a:solidFill>
              </a:rPr>
              <a:t> empowerment framework, we look at women and girls from two different perspectives to help us better understand their opportunities and constraints in order to consider approaches and interventions that can contribute to their greater economic empowerment.  These include a life cycle analysis and considering their different economic rol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solidFill>
                  <a:schemeClr val="tx1"/>
                </a:solidFill>
              </a:rPr>
              <a:t>In terms of life cycle transitions, depending on country contexts, these stages may happen at different ages and not in the order presented, but at the global level, each of these transitional life stages raises distinct financial needs.  </a:t>
            </a:r>
            <a:r>
              <a:rPr lang="en-GB" sz="1200" kern="1200" dirty="0">
                <a:solidFill>
                  <a:schemeClr val="tx1"/>
                </a:solidFill>
                <a:effectLst/>
                <a:latin typeface="+mn-lt"/>
                <a:ea typeface="+mn-ea"/>
                <a:cs typeface="+mn-cs"/>
              </a:rPr>
              <a:t>In the life cycle analysis, there are both biological life cycle stages (menstruation, pregnancy, child birth, breastfeeding, menopause, death) and social aspects (transition to secondary school, from being single to being married, etc.).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E1DC4-D0DB-4B14-9508-D49EB8D9239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5596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E1DC4-D0DB-4B14-9508-D49EB8D9239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4851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11</a:t>
            </a:fld>
            <a:endParaRPr lang="en-US"/>
          </a:p>
        </p:txBody>
      </p:sp>
    </p:spTree>
    <p:extLst>
      <p:ext uri="{BB962C8B-B14F-4D97-AF65-F5344CB8AC3E}">
        <p14:creationId xmlns:p14="http://schemas.microsoft.com/office/powerpoint/2010/main" val="18708350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1E1DC4-D0DB-4B14-9508-D49EB8D9239E}" type="slidenum">
              <a:rPr lang="en-US" smtClean="0"/>
              <a:pPr/>
              <a:t>12</a:t>
            </a:fld>
            <a:endParaRPr lang="en-US"/>
          </a:p>
        </p:txBody>
      </p:sp>
    </p:spTree>
    <p:extLst>
      <p:ext uri="{BB962C8B-B14F-4D97-AF65-F5344CB8AC3E}">
        <p14:creationId xmlns:p14="http://schemas.microsoft.com/office/powerpoint/2010/main" val="19892262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bin"/><Relationship Id="rId5" Type="http://schemas.openxmlformats.org/officeDocument/2006/relationships/image" Target="../media/image5.emf"/><Relationship Id="rId1" Type="http://schemas.openxmlformats.org/officeDocument/2006/relationships/vmlDrawing" Target="../drawings/vmlDrawing3.vml"/><Relationship Id="rId2"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ext Box 2"/>
          <p:cNvSpPr txBox="1">
            <a:spLocks noChangeArrowheads="1"/>
          </p:cNvSpPr>
          <p:nvPr userDrawn="1"/>
        </p:nvSpPr>
        <p:spPr bwMode="auto">
          <a:xfrm>
            <a:off x="468313" y="261938"/>
            <a:ext cx="8496300" cy="881062"/>
          </a:xfrm>
          <a:prstGeom prst="rect">
            <a:avLst/>
          </a:prstGeom>
          <a:noFill/>
          <a:ln w="9525">
            <a:noFill/>
            <a:round/>
            <a:headEnd/>
            <a:tailEnd/>
          </a:ln>
        </p:spPr>
        <p:txBody>
          <a:bodyPr tIns="91440"/>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800" dirty="0">
                <a:solidFill>
                  <a:srgbClr val="00207E"/>
                </a:solidFill>
                <a:latin typeface="Myriad Pro" pitchFamily="34" charset="0"/>
                <a:ea typeface="SimSun"/>
                <a:cs typeface="SimSun"/>
              </a:rPr>
              <a:t>UN Capital Development Fund</a:t>
            </a:r>
          </a:p>
        </p:txBody>
      </p:sp>
      <p:sp>
        <p:nvSpPr>
          <p:cNvPr id="10" name="Title 9"/>
          <p:cNvSpPr>
            <a:spLocks noGrp="1"/>
          </p:cNvSpPr>
          <p:nvPr>
            <p:ph type="title" hasCustomPrompt="1"/>
          </p:nvPr>
        </p:nvSpPr>
        <p:spPr>
          <a:xfrm>
            <a:off x="533400" y="3581400"/>
            <a:ext cx="8077200" cy="4572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lang="en-US" sz="2400" b="1" kern="1200" baseline="0" dirty="0" smtClean="0">
                <a:solidFill>
                  <a:srgbClr val="404040"/>
                </a:solidFill>
                <a:latin typeface="Myriad Pro" pitchFamily="34" charset="0"/>
                <a:ea typeface="SimSun"/>
                <a:cs typeface="SimSun"/>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600" b="1" dirty="0">
                <a:solidFill>
                  <a:srgbClr val="404040"/>
                </a:solidFill>
                <a:latin typeface="Myriad Pro" pitchFamily="34" charset="0"/>
                <a:ea typeface="SimSun"/>
                <a:cs typeface="SimSun"/>
              </a:rPr>
              <a:t>[Sub-title, if needed. Use 26 pt Myriad Pro Bold]</a:t>
            </a:r>
            <a:endParaRPr lang="en-US" sz="2200" dirty="0">
              <a:solidFill>
                <a:srgbClr val="4D4D4D"/>
              </a:solidFill>
              <a:latin typeface="Myriad Pro" pitchFamily="34" charset="0"/>
              <a:ea typeface="SimSun"/>
              <a:cs typeface="SimSun"/>
            </a:endParaRPr>
          </a:p>
        </p:txBody>
      </p:sp>
      <p:sp>
        <p:nvSpPr>
          <p:cNvPr id="27" name="Content Placeholder 26"/>
          <p:cNvSpPr>
            <a:spLocks noGrp="1"/>
          </p:cNvSpPr>
          <p:nvPr>
            <p:ph sz="quarter" idx="10" hasCustomPrompt="1"/>
          </p:nvPr>
        </p:nvSpPr>
        <p:spPr>
          <a:xfrm>
            <a:off x="533400" y="2514600"/>
            <a:ext cx="8077200" cy="1066800"/>
          </a:xfrm>
          <a:prstGeom prst="rect">
            <a:avLst/>
          </a:prstGeom>
        </p:spPr>
        <p:txBody>
          <a:bodyPr/>
          <a:lstStyle>
            <a:lvl1pPr marL="0" indent="0">
              <a:buNone/>
              <a:defRPr sz="3400" b="1">
                <a:solidFill>
                  <a:schemeClr val="accent1">
                    <a:lumMod val="75000"/>
                    <a:lumOff val="25000"/>
                  </a:schemeClr>
                </a:solidFill>
                <a:latin typeface="Univers 55"/>
                <a:cs typeface="Univers 55"/>
              </a:defRPr>
            </a:lvl1pPr>
            <a:lvl2pPr>
              <a:defRPr sz="3400" b="1">
                <a:solidFill>
                  <a:schemeClr val="accent1">
                    <a:lumMod val="75000"/>
                    <a:lumOff val="25000"/>
                  </a:schemeClr>
                </a:solidFill>
              </a:defRPr>
            </a:lvl2pPr>
            <a:lvl3pPr>
              <a:defRPr sz="3400" b="1">
                <a:solidFill>
                  <a:schemeClr val="accent1">
                    <a:lumMod val="75000"/>
                    <a:lumOff val="25000"/>
                  </a:schemeClr>
                </a:solidFill>
              </a:defRPr>
            </a:lvl3pPr>
            <a:lvl4pPr>
              <a:defRPr sz="3400" b="1">
                <a:solidFill>
                  <a:schemeClr val="accent1">
                    <a:lumMod val="75000"/>
                    <a:lumOff val="25000"/>
                  </a:schemeClr>
                </a:solidFill>
              </a:defRPr>
            </a:lvl4pPr>
            <a:lvl5pPr>
              <a:defRPr sz="3400" b="1">
                <a:solidFill>
                  <a:schemeClr val="accent1">
                    <a:lumMod val="75000"/>
                    <a:lumOff val="25000"/>
                  </a:schemeClr>
                </a:solidFill>
              </a:defRPr>
            </a:lvl5pPr>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400" b="1" dirty="0">
                <a:solidFill>
                  <a:srgbClr val="404040"/>
                </a:solidFill>
                <a:latin typeface="Myriad Pro" pitchFamily="34" charset="0"/>
                <a:ea typeface="SimSun"/>
                <a:cs typeface="SimSun"/>
              </a:rPr>
              <a:t>[Title. Use </a:t>
            </a:r>
            <a:r>
              <a:rPr lang="en-US" sz="3400" b="1" dirty="0">
                <a:solidFill>
                  <a:srgbClr val="404040"/>
                </a:solidFill>
                <a:latin typeface="Myriad Pro" pitchFamily="34" charset="0"/>
              </a:rPr>
              <a:t>34 pt Myriad Pro bold</a:t>
            </a:r>
            <a:r>
              <a:rPr lang="en-US" sz="3400" b="1" dirty="0">
                <a:solidFill>
                  <a:srgbClr val="404040"/>
                </a:solidFill>
                <a:latin typeface="Myriad Pro" pitchFamily="34" charset="0"/>
                <a:ea typeface="SimSun"/>
                <a:cs typeface="SimSun"/>
              </a:rPr>
              <a:t>] </a:t>
            </a:r>
          </a:p>
        </p:txBody>
      </p:sp>
      <p:sp>
        <p:nvSpPr>
          <p:cNvPr id="29" name="Content Placeholder 28"/>
          <p:cNvSpPr>
            <a:spLocks noGrp="1"/>
          </p:cNvSpPr>
          <p:nvPr>
            <p:ph sz="quarter" idx="11" hasCustomPrompt="1"/>
          </p:nvPr>
        </p:nvSpPr>
        <p:spPr>
          <a:xfrm>
            <a:off x="533400" y="6096000"/>
            <a:ext cx="6553200" cy="457200"/>
          </a:xfrm>
          <a:prstGeom prst="rect">
            <a:avLst/>
          </a:prstGeom>
        </p:spPr>
        <p:txBody>
          <a:bodyPr/>
          <a:lstStyle>
            <a:lvl1pPr marL="0" indent="0">
              <a:buNone/>
              <a:defRPr sz="2200">
                <a:solidFill>
                  <a:schemeClr val="bg2">
                    <a:lumMod val="75000"/>
                  </a:schemeClr>
                </a:solidFill>
              </a:defRPr>
            </a:lvl1pPr>
            <a:lvl2pPr>
              <a:defRPr sz="2200"/>
            </a:lvl2pPr>
            <a:lvl3pPr>
              <a:defRPr sz="2200"/>
            </a:lvl3pPr>
            <a:lvl4pPr>
              <a:defRPr sz="2200"/>
            </a:lvl4pPr>
            <a:lvl5pPr>
              <a:defRPr sz="2200"/>
            </a:lvl5pPr>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200" dirty="0">
                <a:solidFill>
                  <a:srgbClr val="4D4D4D"/>
                </a:solidFill>
                <a:latin typeface="Myriad Pro" pitchFamily="34" charset="0"/>
                <a:ea typeface="SimSun"/>
                <a:cs typeface="SimSun"/>
              </a:rPr>
              <a:t>Month and Year</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continued">
    <p:spTree>
      <p:nvGrpSpPr>
        <p:cNvPr id="1" name=""/>
        <p:cNvGrpSpPr/>
        <p:nvPr/>
      </p:nvGrpSpPr>
      <p:grpSpPr>
        <a:xfrm>
          <a:off x="0" y="0"/>
          <a:ext cx="0" cy="0"/>
          <a:chOff x="0" y="0"/>
          <a:chExt cx="0" cy="0"/>
        </a:xfrm>
      </p:grpSpPr>
      <p:sp>
        <p:nvSpPr>
          <p:cNvPr id="4" name="Text Placeholder 15"/>
          <p:cNvSpPr>
            <a:spLocks noGrp="1"/>
          </p:cNvSpPr>
          <p:nvPr>
            <p:ph type="body" sz="quarter" idx="10"/>
          </p:nvPr>
        </p:nvSpPr>
        <p:spPr>
          <a:xfrm>
            <a:off x="457200" y="685800"/>
            <a:ext cx="8153400" cy="58674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80312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content chart/graphic">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457200" y="1295400"/>
            <a:ext cx="8153400" cy="3962400"/>
          </a:xfrm>
          <a:prstGeom prst="rect">
            <a:avLst/>
          </a:prstGeom>
        </p:spPr>
        <p:txBody>
          <a:bodyPr/>
          <a:lstStyle>
            <a:lvl1pPr marL="0" indent="0">
              <a:buFontTx/>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Tree>
    <p:extLst>
      <p:ext uri="{BB962C8B-B14F-4D97-AF65-F5344CB8AC3E}">
        <p14:creationId xmlns:p14="http://schemas.microsoft.com/office/powerpoint/2010/main" val="25678887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content imag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Tree>
    <p:extLst>
      <p:ext uri="{BB962C8B-B14F-4D97-AF65-F5344CB8AC3E}">
        <p14:creationId xmlns:p14="http://schemas.microsoft.com/office/powerpoint/2010/main" val="2577944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content table">
    <p:spTree>
      <p:nvGrpSpPr>
        <p:cNvPr id="1" name=""/>
        <p:cNvGrpSpPr/>
        <p:nvPr/>
      </p:nvGrpSpPr>
      <p:grpSpPr>
        <a:xfrm>
          <a:off x="0" y="0"/>
          <a:ext cx="0" cy="0"/>
          <a:chOff x="0" y="0"/>
          <a:chExt cx="0" cy="0"/>
        </a:xfrm>
      </p:grpSpPr>
      <p:sp>
        <p:nvSpPr>
          <p:cNvPr id="6" name="Table Placeholder 5"/>
          <p:cNvSpPr>
            <a:spLocks noGrp="1"/>
          </p:cNvSpPr>
          <p:nvPr>
            <p:ph type="tbl" sz="quarter" idx="14"/>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a:p>
        </p:txBody>
      </p:sp>
      <p:sp>
        <p:nvSpPr>
          <p:cNvPr id="4"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Tree>
    <p:extLst>
      <p:ext uri="{BB962C8B-B14F-4D97-AF65-F5344CB8AC3E}">
        <p14:creationId xmlns:p14="http://schemas.microsoft.com/office/powerpoint/2010/main" val="14187715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762000" y="2971800"/>
            <a:ext cx="8077200" cy="1143000"/>
          </a:xfrm>
          <a:prstGeom prst="rect">
            <a:avLst/>
          </a:prstGeom>
        </p:spPr>
        <p:txBody>
          <a:bodyPr/>
          <a:lstStyle>
            <a:lvl1pPr algn="l">
              <a:buFont typeface="Arial" pitchFamily="34" charset="0"/>
              <a:buNone/>
              <a:defRPr sz="3800" b="1">
                <a:solidFill>
                  <a:srgbClr val="404040"/>
                </a:solidFill>
              </a:defRPr>
            </a:lvl1pPr>
          </a:lstStyle>
          <a:p>
            <a:r>
              <a:rPr lang="en-US" sz="3800" b="1" dirty="0">
                <a:solidFill>
                  <a:srgbClr val="404040"/>
                </a:solidFill>
                <a:latin typeface="Myriad Pro" pitchFamily="34" charset="0"/>
                <a:ea typeface="SimSun"/>
                <a:cs typeface="SimSun"/>
              </a:rPr>
              <a:t>Section’s title. Use </a:t>
            </a:r>
            <a:r>
              <a:rPr lang="en-US" sz="3800" b="1" dirty="0">
                <a:solidFill>
                  <a:srgbClr val="404040"/>
                </a:solidFill>
                <a:latin typeface="Myriad Pro" pitchFamily="34" charset="0"/>
              </a:rPr>
              <a:t>38 pt Myriad Pro bold (optional)</a:t>
            </a:r>
            <a:endParaRPr lang="en-US" dirty="0"/>
          </a:p>
        </p:txBody>
      </p:sp>
    </p:spTree>
    <p:extLst>
      <p:ext uri="{BB962C8B-B14F-4D97-AF65-F5344CB8AC3E}">
        <p14:creationId xmlns:p14="http://schemas.microsoft.com/office/powerpoint/2010/main" val="23527300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1537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a:t>Click to edit Master slide title</a:t>
            </a:r>
          </a:p>
        </p:txBody>
      </p:sp>
      <p:sp>
        <p:nvSpPr>
          <p:cNvPr id="12" name="Text Placeholder 9"/>
          <p:cNvSpPr>
            <a:spLocks noGrp="1"/>
          </p:cNvSpPr>
          <p:nvPr>
            <p:ph type="body" sz="quarter" idx="10"/>
          </p:nvPr>
        </p:nvSpPr>
        <p:spPr>
          <a:xfrm>
            <a:off x="408322" y="1008531"/>
            <a:ext cx="8299535" cy="5325595"/>
          </a:xfrm>
          <a:prstGeom prst="rect">
            <a:avLst/>
          </a:prstGeom>
        </p:spPr>
        <p:txBody>
          <a:bodyPr lIns="0" tIns="0" rIns="0" bIns="0"/>
          <a:lstStyle>
            <a:lvl1pPr marL="159731" indent="-159731">
              <a:defRPr sz="1292"/>
            </a:lvl1pPr>
            <a:lvl2pPr marL="320928" indent="-161196">
              <a:defRPr sz="1108"/>
            </a:lvl2pPr>
            <a:lvl3pPr marL="470401" indent="-149473">
              <a:defRPr sz="1108"/>
            </a:lvl3pPr>
            <a:lvl4pPr marL="630131" indent="-159731">
              <a:defRPr sz="1108"/>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9"/>
          <p:cNvSpPr>
            <a:spLocks noGrp="1"/>
          </p:cNvSpPr>
          <p:nvPr>
            <p:ph type="body" sz="quarter" idx="37" hasCustomPrompt="1"/>
          </p:nvPr>
        </p:nvSpPr>
        <p:spPr>
          <a:xfrm>
            <a:off x="415637" y="6446488"/>
            <a:ext cx="7479809" cy="386679"/>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917248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539750" y="2971800"/>
            <a:ext cx="7088188" cy="692497"/>
          </a:xfrm>
          <a:prstGeom prst="rect">
            <a:avLst/>
          </a:prstGeom>
          <a:noFill/>
          <a:ln w="9525">
            <a:noFill/>
            <a:round/>
            <a:headEnd/>
            <a:tailEnd/>
          </a:ln>
        </p:spPr>
        <p:txBody>
          <a:bodyPr wrap="square" tIns="91440">
            <a:spAutoFit/>
          </a:bodyPr>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US" sz="3600" b="0" i="0" spc="100" dirty="0">
                <a:solidFill>
                  <a:srgbClr val="00207E"/>
                </a:solidFill>
                <a:latin typeface="Myriad Pro" pitchFamily="34" charset="0"/>
                <a:ea typeface="SimSun"/>
                <a:cs typeface="SimSun"/>
              </a:rPr>
              <a:t>THANK YOU </a:t>
            </a:r>
          </a:p>
        </p:txBody>
      </p:sp>
      <p:sp>
        <p:nvSpPr>
          <p:cNvPr id="5" name="Title 4"/>
          <p:cNvSpPr>
            <a:spLocks noGrp="1"/>
          </p:cNvSpPr>
          <p:nvPr>
            <p:ph type="title" hasCustomPrompt="1"/>
          </p:nvPr>
        </p:nvSpPr>
        <p:spPr>
          <a:xfrm>
            <a:off x="533400" y="5410200"/>
            <a:ext cx="8153400" cy="1447800"/>
          </a:xfrm>
          <a:prstGeom prst="rect">
            <a:avLst/>
          </a:prstGeom>
        </p:spPr>
        <p:txBody>
          <a:bodyPr/>
          <a:lstStyle>
            <a:lvl1pPr algn="l">
              <a:defRPr sz="2600">
                <a:solidFill>
                  <a:srgbClr val="404040"/>
                </a:solidFill>
              </a:defRPr>
            </a:lvl1pPr>
          </a:lstStyle>
          <a:p>
            <a:pPr>
              <a:defRPr/>
            </a:pPr>
            <a:r>
              <a:rPr lang="en-US" sz="2600" dirty="0">
                <a:solidFill>
                  <a:srgbClr val="404040"/>
                </a:solidFill>
                <a:latin typeface="+mj-lt"/>
              </a:rPr>
              <a:t>[Name] [Title]</a:t>
            </a:r>
            <a:br>
              <a:rPr lang="en-US" sz="2600" dirty="0">
                <a:solidFill>
                  <a:srgbClr val="404040"/>
                </a:solidFill>
                <a:latin typeface="+mj-lt"/>
              </a:rPr>
            </a:br>
            <a:r>
              <a:rPr lang="en-US" sz="2600" dirty="0">
                <a:solidFill>
                  <a:srgbClr val="404040"/>
                </a:solidFill>
                <a:latin typeface="+mj-lt"/>
              </a:rPr>
              <a:t/>
            </a:r>
            <a:br>
              <a:rPr lang="en-US" sz="2600" dirty="0">
                <a:solidFill>
                  <a:srgbClr val="404040"/>
                </a:solidFill>
                <a:latin typeface="+mj-lt"/>
              </a:rPr>
            </a:br>
            <a:r>
              <a:rPr lang="en-US" sz="2600" dirty="0">
                <a:solidFill>
                  <a:srgbClr val="404040"/>
                </a:solidFill>
                <a:latin typeface="+mj-lt"/>
              </a:rPr>
              <a:t>name. lastname@uncdf.org</a:t>
            </a:r>
          </a:p>
        </p:txBody>
      </p:sp>
      <p:sp>
        <p:nvSpPr>
          <p:cNvPr id="7" name="Text Box 2"/>
          <p:cNvSpPr txBox="1">
            <a:spLocks noChangeArrowheads="1"/>
          </p:cNvSpPr>
          <p:nvPr userDrawn="1"/>
        </p:nvSpPr>
        <p:spPr bwMode="auto">
          <a:xfrm>
            <a:off x="468313" y="261938"/>
            <a:ext cx="8496300" cy="881062"/>
          </a:xfrm>
          <a:prstGeom prst="rect">
            <a:avLst/>
          </a:prstGeom>
          <a:noFill/>
          <a:ln w="9525">
            <a:noFill/>
            <a:round/>
            <a:headEnd/>
            <a:tailEnd/>
          </a:ln>
        </p:spPr>
        <p:txBody>
          <a:bodyPr tIns="91440"/>
          <a:lstStyle/>
          <a:p>
            <a:pP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800" dirty="0">
                <a:solidFill>
                  <a:srgbClr val="00207E"/>
                </a:solidFill>
                <a:latin typeface="Myriad Pro" pitchFamily="34" charset="0"/>
                <a:ea typeface="SimSun"/>
                <a:cs typeface="SimSun"/>
              </a:rPr>
              <a:t>UN Capital Development Fund</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762000" y="2971800"/>
            <a:ext cx="8077200" cy="1143000"/>
          </a:xfrm>
          <a:prstGeom prst="rect">
            <a:avLst/>
          </a:prstGeom>
        </p:spPr>
        <p:txBody>
          <a:bodyPr/>
          <a:lstStyle>
            <a:lvl1pPr algn="l">
              <a:buFont typeface="Arial" pitchFamily="34" charset="0"/>
              <a:buNone/>
              <a:defRPr sz="3800" b="1">
                <a:solidFill>
                  <a:srgbClr val="404040"/>
                </a:solidFill>
              </a:defRPr>
            </a:lvl1pPr>
          </a:lstStyle>
          <a:p>
            <a:r>
              <a:rPr lang="en-US" sz="3800" b="1" dirty="0">
                <a:solidFill>
                  <a:srgbClr val="404040"/>
                </a:solidFill>
                <a:latin typeface="Myriad Pro" pitchFamily="34" charset="0"/>
                <a:ea typeface="SimSun"/>
                <a:cs typeface="SimSun"/>
              </a:rPr>
              <a:t>Section’s title. Use </a:t>
            </a:r>
            <a:r>
              <a:rPr lang="en-US" sz="3800" b="1" dirty="0">
                <a:solidFill>
                  <a:srgbClr val="404040"/>
                </a:solidFill>
                <a:latin typeface="Myriad Pro" pitchFamily="34" charset="0"/>
              </a:rPr>
              <a:t>38 pt Myriad Pro bold (optiona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content">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457200" y="1295400"/>
            <a:ext cx="8153400" cy="52578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continued">
    <p:spTree>
      <p:nvGrpSpPr>
        <p:cNvPr id="1" name=""/>
        <p:cNvGrpSpPr/>
        <p:nvPr/>
      </p:nvGrpSpPr>
      <p:grpSpPr>
        <a:xfrm>
          <a:off x="0" y="0"/>
          <a:ext cx="0" cy="0"/>
          <a:chOff x="0" y="0"/>
          <a:chExt cx="0" cy="0"/>
        </a:xfrm>
      </p:grpSpPr>
      <p:sp>
        <p:nvSpPr>
          <p:cNvPr id="4" name="Text Placeholder 15"/>
          <p:cNvSpPr>
            <a:spLocks noGrp="1"/>
          </p:cNvSpPr>
          <p:nvPr>
            <p:ph type="body" sz="quarter" idx="10"/>
          </p:nvPr>
        </p:nvSpPr>
        <p:spPr>
          <a:xfrm>
            <a:off x="457200" y="685800"/>
            <a:ext cx="8153400" cy="58674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content chart/graphic">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457200" y="1295400"/>
            <a:ext cx="8153400" cy="3962400"/>
          </a:xfrm>
          <a:prstGeom prst="rect">
            <a:avLst/>
          </a:prstGeom>
        </p:spPr>
        <p:txBody>
          <a:bodyPr/>
          <a:lstStyle>
            <a:lvl1pPr marL="0" indent="0">
              <a:buFontTx/>
              <a:buNone/>
              <a:defRPr sz="2400">
                <a:solidFill>
                  <a:srgbClr val="404040"/>
                </a:solidFill>
              </a:defRPr>
            </a:lvl1pPr>
          </a:lstStyle>
          <a:p>
            <a:endParaRPr lang="en-US" dirty="0"/>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content imag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content table">
    <p:spTree>
      <p:nvGrpSpPr>
        <p:cNvPr id="1" name=""/>
        <p:cNvGrpSpPr/>
        <p:nvPr/>
      </p:nvGrpSpPr>
      <p:grpSpPr>
        <a:xfrm>
          <a:off x="0" y="0"/>
          <a:ext cx="0" cy="0"/>
          <a:chOff x="0" y="0"/>
          <a:chExt cx="0" cy="0"/>
        </a:xfrm>
      </p:grpSpPr>
      <p:sp>
        <p:nvSpPr>
          <p:cNvPr id="6" name="Table Placeholder 5"/>
          <p:cNvSpPr>
            <a:spLocks noGrp="1"/>
          </p:cNvSpPr>
          <p:nvPr>
            <p:ph type="tbl" sz="quarter" idx="14"/>
          </p:nvPr>
        </p:nvSpPr>
        <p:spPr>
          <a:xfrm>
            <a:off x="457200" y="1295400"/>
            <a:ext cx="8153400" cy="3962400"/>
          </a:xfrm>
          <a:prstGeom prst="rect">
            <a:avLst/>
          </a:prstGeom>
        </p:spPr>
        <p:txBody>
          <a:bodyPr/>
          <a:lstStyle>
            <a:lvl1pPr marL="0" indent="0">
              <a:buNone/>
              <a:defRPr sz="2400">
                <a:solidFill>
                  <a:srgbClr val="404040"/>
                </a:solidFill>
              </a:defRPr>
            </a:lvl1pPr>
          </a:lstStyle>
          <a:p>
            <a:endParaRPr lang="en-US"/>
          </a:p>
        </p:txBody>
      </p:sp>
      <p:sp>
        <p:nvSpPr>
          <p:cNvPr id="4"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content">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457200" y="1295400"/>
            <a:ext cx="8153400" cy="5257800"/>
          </a:xfrm>
          <a:prstGeom prst="rect">
            <a:avLst/>
          </a:prstGeom>
        </p:spPr>
        <p:txBody>
          <a:bodyPr/>
          <a:lstStyle>
            <a:lvl1pPr marL="0" indent="0">
              <a:buNone/>
              <a:defRPr sz="2400">
                <a:solidFill>
                  <a:srgbClr val="404040"/>
                </a:solidFill>
              </a:defRPr>
            </a:lvl1pPr>
            <a:lvl2pPr marL="804672" indent="-347472">
              <a:buFont typeface="Arial" pitchFamily="34" charset="0"/>
              <a:buChar char="•"/>
              <a:defRPr sz="2400">
                <a:solidFill>
                  <a:srgbClr val="404040"/>
                </a:solidFill>
              </a:defRPr>
            </a:lvl2pPr>
            <a:lvl3pPr marL="1261872" indent="-347472">
              <a:buFont typeface="Wingdings" pitchFamily="2" charset="2"/>
              <a:buChar char="ü"/>
              <a:defRPr sz="2400">
                <a:solidFill>
                  <a:srgbClr val="404040"/>
                </a:solidFill>
              </a:defRPr>
            </a:lvl3pPr>
            <a:lvl4pPr indent="-347472">
              <a:defRPr sz="2400">
                <a:solidFill>
                  <a:srgbClr val="404040"/>
                </a:solidFill>
              </a:defRPr>
            </a:lvl4pPr>
            <a:lvl5pPr indent="-347472">
              <a:buFont typeface="Arial" pitchFamily="34" charset="0"/>
              <a:buChar char="•"/>
              <a:defRPr sz="2400">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3"/>
          <p:cNvSpPr>
            <a:spLocks noGrp="1"/>
          </p:cNvSpPr>
          <p:nvPr>
            <p:ph type="title" hasCustomPrompt="1"/>
          </p:nvPr>
        </p:nvSpPr>
        <p:spPr>
          <a:xfrm>
            <a:off x="457200" y="304800"/>
            <a:ext cx="7391400" cy="609600"/>
          </a:xfrm>
          <a:prstGeom prst="rect">
            <a:avLst/>
          </a:prstGeom>
        </p:spPr>
        <p:txBody>
          <a:bodyPr/>
          <a:lstStyle>
            <a:lvl1pPr algn="l">
              <a:defRPr sz="3200" b="1">
                <a:solidFill>
                  <a:srgbClr val="404040"/>
                </a:solidFill>
              </a:defRPr>
            </a:lvl1pPr>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200" b="1" dirty="0">
                <a:solidFill>
                  <a:srgbClr val="000000"/>
                </a:solidFill>
                <a:latin typeface="Myriad Pro" pitchFamily="34" charset="0"/>
              </a:rPr>
              <a:t>Title. 32pt Myriad Pro bold. Align center</a:t>
            </a:r>
            <a:endParaRPr lang="en-US" sz="3200" dirty="0">
              <a:solidFill>
                <a:srgbClr val="000000"/>
              </a:solidFill>
              <a:latin typeface="Myriad Pro" pitchFamily="34" charset="0"/>
            </a:endParaRPr>
          </a:p>
        </p:txBody>
      </p:sp>
    </p:spTree>
    <p:extLst>
      <p:ext uri="{BB962C8B-B14F-4D97-AF65-F5344CB8AC3E}">
        <p14:creationId xmlns:p14="http://schemas.microsoft.com/office/powerpoint/2010/main" val="1414528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theme" Target="../theme/theme2.xml"/><Relationship Id="rId3"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slideLayout" Target="../slideLayouts/slideLayout7.xml"/><Relationship Id="rId5" Type="http://schemas.openxmlformats.org/officeDocument/2006/relationships/slideLayout" Target="../slideLayouts/slideLayout8.xml"/><Relationship Id="rId6" Type="http://schemas.openxmlformats.org/officeDocument/2006/relationships/theme" Target="../theme/theme3.xml"/><Relationship Id="rId7" Type="http://schemas.openxmlformats.org/officeDocument/2006/relationships/vmlDrawing" Target="../drawings/vmlDrawing1.vml"/><Relationship Id="rId8" Type="http://schemas.openxmlformats.org/officeDocument/2006/relationships/tags" Target="../tags/tag2.xml"/><Relationship Id="rId9" Type="http://schemas.openxmlformats.org/officeDocument/2006/relationships/oleObject" Target="../embeddings/oleObject1.bin"/><Relationship Id="rId10" Type="http://schemas.openxmlformats.org/officeDocument/2006/relationships/image" Target="../media/image3.emf"/><Relationship Id="rId11" Type="http://schemas.openxmlformats.org/officeDocument/2006/relationships/image" Target="../media/image4.png"/><Relationship Id="rId1" Type="http://schemas.openxmlformats.org/officeDocument/2006/relationships/slideLayout" Target="../slideLayouts/slideLayout4.xml"/><Relationship Id="rId2"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2.bin"/><Relationship Id="rId12" Type="http://schemas.openxmlformats.org/officeDocument/2006/relationships/image" Target="../media/image3.emf"/><Relationship Id="rId13" Type="http://schemas.openxmlformats.org/officeDocument/2006/relationships/image" Target="../media/image4.png"/><Relationship Id="rId1" Type="http://schemas.openxmlformats.org/officeDocument/2006/relationships/slideLayout" Target="../slideLayouts/slideLayout9.xml"/><Relationship Id="rId2" Type="http://schemas.openxmlformats.org/officeDocument/2006/relationships/slideLayout" Target="../slideLayouts/slideLayout10.xml"/><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slideLayout" Target="../slideLayouts/slideLayout14.xml"/><Relationship Id="rId7" Type="http://schemas.openxmlformats.org/officeDocument/2006/relationships/slideLayout" Target="../slideLayouts/slideLayout15.xml"/><Relationship Id="rId8" Type="http://schemas.openxmlformats.org/officeDocument/2006/relationships/theme" Target="../theme/theme4.xml"/><Relationship Id="rId9" Type="http://schemas.openxmlformats.org/officeDocument/2006/relationships/vmlDrawing" Target="../drawings/vmlDrawing2.vml"/><Relationship Id="rId1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1"/>
          <p:cNvSpPr>
            <a:spLocks noChangeArrowheads="1"/>
          </p:cNvSpPr>
          <p:nvPr/>
        </p:nvSpPr>
        <p:spPr bwMode="auto">
          <a:xfrm rot="16200000">
            <a:off x="4562856" y="-3572255"/>
            <a:ext cx="18288" cy="9144000"/>
          </a:xfrm>
          <a:prstGeom prst="rect">
            <a:avLst/>
          </a:prstGeom>
          <a:solidFill>
            <a:srgbClr val="000090"/>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
                <a:srgbClr val="000000"/>
              </a:buClr>
              <a:buSzPct val="100000"/>
              <a:buFont typeface="Times New Roman" pitchFamily="18" charset="0"/>
              <a:buNone/>
              <a:tabLst/>
              <a:defRPr/>
            </a:pPr>
            <a:endParaRPr kumimoji="0" lang="en-US" sz="1800" b="0" i="0" u="none" strike="noStrike" kern="0" cap="none" spc="0" normalizeH="0" baseline="0" noProof="0">
              <a:ln>
                <a:noFill/>
              </a:ln>
              <a:solidFill>
                <a:srgbClr val="00207E"/>
              </a:solidFill>
              <a:effectLst/>
              <a:uLnTx/>
              <a:uFillTx/>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82648" y="5181600"/>
            <a:ext cx="1961100" cy="1684367"/>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1"/>
          <p:cNvSpPr>
            <a:spLocks noChangeArrowheads="1"/>
          </p:cNvSpPr>
          <p:nvPr/>
        </p:nvSpPr>
        <p:spPr bwMode="auto">
          <a:xfrm rot="16200000">
            <a:off x="4562856" y="-3572255"/>
            <a:ext cx="18288" cy="9144000"/>
          </a:xfrm>
          <a:prstGeom prst="rect">
            <a:avLst/>
          </a:prstGeom>
          <a:solidFill>
            <a:srgbClr val="000090"/>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
                <a:srgbClr val="000000"/>
              </a:buClr>
              <a:buSzPct val="100000"/>
              <a:buFont typeface="Times New Roman" pitchFamily="18" charset="0"/>
              <a:buNone/>
              <a:tabLst/>
              <a:defRPr/>
            </a:pPr>
            <a:endParaRPr kumimoji="0" lang="en-US" sz="1800" b="0" i="0" u="none" strike="noStrike" kern="0" cap="none" spc="0" normalizeH="0" baseline="0" noProof="0">
              <a:ln>
                <a:noFill/>
              </a:ln>
              <a:solidFill>
                <a:srgbClr val="00207E"/>
              </a:solidFill>
              <a:effectLst/>
              <a:uLnTx/>
              <a:uFillTx/>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47285" y="5581636"/>
            <a:ext cx="1231826" cy="1200164"/>
          </a:xfrm>
          <a:prstGeom prst="rect">
            <a:avLst/>
          </a:prstGeom>
        </p:spPr>
      </p:pic>
    </p:spTree>
    <p:extLst>
      <p:ext uri="{BB962C8B-B14F-4D97-AF65-F5344CB8AC3E}">
        <p14:creationId xmlns:p14="http://schemas.microsoft.com/office/powerpoint/2010/main" val="647280463"/>
      </p:ext>
    </p:extLst>
  </p:cSld>
  <p:clrMap bg1="lt1" tx1="dk1" bg2="lt2" tx2="dk2" accent1="accent1" accent2="accent2" accent3="accent3" accent4="accent4" accent5="accent5" accent6="accent6" hlink="hlink" folHlink="folHlink"/>
  <p:sldLayoutIdLst>
    <p:sldLayoutId id="2147483649"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1294753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4" name="think-cell Slide" r:id="rId9" imgW="393" imgH="394" progId="TCLayout.ActiveDocument.1">
                  <p:embed/>
                </p:oleObj>
              </mc:Choice>
              <mc:Fallback>
                <p:oleObj name="think-cell Slide" r:id="rId9" imgW="393" imgH="394"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Rectangle 1"/>
          <p:cNvSpPr>
            <a:spLocks noChangeArrowheads="1"/>
          </p:cNvSpPr>
          <p:nvPr/>
        </p:nvSpPr>
        <p:spPr bwMode="auto">
          <a:xfrm rot="16200000">
            <a:off x="3915156" y="-2848355"/>
            <a:ext cx="18288" cy="78486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pPr>
            <a:endParaRPr lang="en-US">
              <a:solidFill>
                <a:srgbClr val="00207E"/>
              </a:solidFill>
            </a:endParaRPr>
          </a:p>
        </p:txBody>
      </p:sp>
      <p:pic>
        <p:nvPicPr>
          <p:cNvPr id="4" name="Picture 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028384" y="188640"/>
            <a:ext cx="812984" cy="792088"/>
          </a:xfrm>
          <a:prstGeom prst="rect">
            <a:avLst/>
          </a:prstGeom>
        </p:spPr>
      </p:pic>
    </p:spTree>
  </p:cSld>
  <p:clrMap bg1="lt1" tx1="dk1" bg2="lt2" tx2="dk2" accent1="accent1" accent2="accent2" accent3="accent3" accent4="accent4" accent5="accent5" accent6="accent6" hlink="hlink" folHlink="folHlink"/>
  <p:sldLayoutIdLst>
    <p:sldLayoutId id="2147483670" r:id="rId1"/>
    <p:sldLayoutId id="2147483668" r:id="rId2"/>
    <p:sldLayoutId id="2147483661" r:id="rId3"/>
    <p:sldLayoutId id="2147483676" r:id="rId4"/>
    <p:sldLayoutId id="2147483677"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11" imgW="393" imgH="394" progId="TCLayout.ActiveDocument.1">
                  <p:embed/>
                </p:oleObj>
              </mc:Choice>
              <mc:Fallback>
                <p:oleObj name="think-cell Slide" r:id="rId11" imgW="393" imgH="394"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7" name="Rectangle 1"/>
          <p:cNvSpPr>
            <a:spLocks noChangeArrowheads="1"/>
          </p:cNvSpPr>
          <p:nvPr/>
        </p:nvSpPr>
        <p:spPr bwMode="auto">
          <a:xfrm rot="16200000">
            <a:off x="3915156" y="-2848355"/>
            <a:ext cx="18288" cy="7848600"/>
          </a:xfrm>
          <a:prstGeom prst="rect">
            <a:avLst/>
          </a:prstGeom>
          <a:solidFill>
            <a:srgbClr val="000090"/>
          </a:solidFill>
          <a:ln w="9525">
            <a:noFill/>
            <a:round/>
            <a:headEnd/>
            <a:tailEnd/>
          </a:ln>
        </p:spPr>
        <p:txBody>
          <a:bodyPr wrap="none" anchor="ctr"/>
          <a:lstStyle/>
          <a:p>
            <a:pPr>
              <a:buClr>
                <a:srgbClr val="000000"/>
              </a:buClr>
              <a:buSzPct val="100000"/>
              <a:buFont typeface="Times New Roman" pitchFamily="18" charset="0"/>
              <a:buNone/>
            </a:pPr>
            <a:endParaRPr lang="en-US">
              <a:solidFill>
                <a:srgbClr val="00207E"/>
              </a:solidFill>
            </a:endParaRPr>
          </a:p>
        </p:txBody>
      </p:sp>
      <p:pic>
        <p:nvPicPr>
          <p:cNvPr id="4" name="Picture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028384" y="188640"/>
            <a:ext cx="812984" cy="792088"/>
          </a:xfrm>
          <a:prstGeom prst="rect">
            <a:avLst/>
          </a:prstGeom>
        </p:spPr>
      </p:pic>
    </p:spTree>
    <p:extLst>
      <p:ext uri="{BB962C8B-B14F-4D97-AF65-F5344CB8AC3E}">
        <p14:creationId xmlns:p14="http://schemas.microsoft.com/office/powerpoint/2010/main" val="289664249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6.xml"/><Relationship Id="rId3" Type="http://schemas.openxmlformats.org/officeDocument/2006/relationships/image" Target="../media/image1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hyperlink" Target="mailto:Beth.Porter@uncdf.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10.png"/><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4" Type="http://schemas.openxmlformats.org/officeDocument/2006/relationships/notesSlide" Target="../notesSlides/notesSlide3.xml"/><Relationship Id="rId5" Type="http://schemas.openxmlformats.org/officeDocument/2006/relationships/oleObject" Target="../embeddings/oleObject4.bin"/><Relationship Id="rId6" Type="http://schemas.openxmlformats.org/officeDocument/2006/relationships/image" Target="../media/image3.emf"/><Relationship Id="rId7" Type="http://schemas.openxmlformats.org/officeDocument/2006/relationships/image" Target="../media/image11.png"/><Relationship Id="rId1" Type="http://schemas.openxmlformats.org/officeDocument/2006/relationships/vmlDrawing" Target="../drawings/vmlDrawing4.vml"/><Relationship Id="rId2" Type="http://schemas.openxmlformats.org/officeDocument/2006/relationships/tags" Target="../tags/tag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5.xml"/><Relationship Id="rId5" Type="http://schemas.openxmlformats.org/officeDocument/2006/relationships/oleObject" Target="../embeddings/oleObject5.bin"/><Relationship Id="rId6" Type="http://schemas.openxmlformats.org/officeDocument/2006/relationships/image" Target="../media/image12.emf"/><Relationship Id="rId1" Type="http://schemas.openxmlformats.org/officeDocument/2006/relationships/vmlDrawing" Target="../drawings/vmlDrawing5.vml"/><Relationship Id="rId2" Type="http://schemas.openxmlformats.org/officeDocument/2006/relationships/tags" Target="../tags/tag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4.xml"/><Relationship Id="rId2"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521766" y="1484784"/>
            <a:ext cx="8298706" cy="1066800"/>
          </a:xfrm>
        </p:spPr>
        <p:txBody>
          <a:bodyPr/>
          <a:lstStyle/>
          <a:p>
            <a:pPr algn="ctr"/>
            <a:r>
              <a:rPr lang="en-US" sz="3800" dirty="0">
                <a:solidFill>
                  <a:srgbClr val="404040"/>
                </a:solidFill>
              </a:rPr>
              <a:t>Financial Services Access and Agency for Women and Girls</a:t>
            </a:r>
          </a:p>
          <a:p>
            <a:pPr algn="ctr"/>
            <a:endParaRPr lang="en-US" sz="3800" dirty="0">
              <a:solidFill>
                <a:srgbClr val="404040"/>
              </a:solidFill>
            </a:endParaRPr>
          </a:p>
          <a:p>
            <a:pPr algn="ctr"/>
            <a:r>
              <a:rPr lang="en-US" sz="3800" dirty="0">
                <a:solidFill>
                  <a:srgbClr val="404040"/>
                </a:solidFill>
              </a:rPr>
              <a:t>Senegal Country Assessment Workshop</a:t>
            </a:r>
          </a:p>
          <a:p>
            <a:endParaRPr lang="en-US" sz="3800" dirty="0">
              <a:solidFill>
                <a:srgbClr val="404040"/>
              </a:solidFill>
            </a:endParaRPr>
          </a:p>
        </p:txBody>
      </p:sp>
      <p:sp>
        <p:nvSpPr>
          <p:cNvPr id="4" name="Content Placeholder 3"/>
          <p:cNvSpPr>
            <a:spLocks noGrp="1"/>
          </p:cNvSpPr>
          <p:nvPr>
            <p:ph sz="quarter" idx="11"/>
          </p:nvPr>
        </p:nvSpPr>
        <p:spPr>
          <a:xfrm>
            <a:off x="521766" y="5517232"/>
            <a:ext cx="6553200" cy="457200"/>
          </a:xfrm>
        </p:spPr>
        <p:txBody>
          <a:bodyPr/>
          <a:lstStyle/>
          <a:p>
            <a:r>
              <a:rPr lang="en-US" b="1" dirty="0">
                <a:solidFill>
                  <a:srgbClr val="4D75A4"/>
                </a:solidFill>
              </a:rPr>
              <a:t>16 November 2017</a:t>
            </a:r>
          </a:p>
          <a:p>
            <a:r>
              <a:rPr lang="en-US" b="1" dirty="0">
                <a:solidFill>
                  <a:srgbClr val="4D75A4"/>
                </a:solidFill>
              </a:rPr>
              <a:t>Daka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3547" y="304800"/>
            <a:ext cx="7595053" cy="609600"/>
          </a:xfrm>
        </p:spPr>
        <p:txBody>
          <a:bodyPr/>
          <a:lstStyle/>
          <a:p>
            <a:r>
              <a:rPr lang="en-US" dirty="0"/>
              <a:t>Global Implementation – 3 Key Phases</a:t>
            </a: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253547" y="1209362"/>
            <a:ext cx="1368152" cy="3168352"/>
          </a:xfrm>
          <a:prstGeom prst="rect">
            <a:avLst/>
          </a:prstGeom>
        </p:spPr>
      </p:pic>
      <p:sp>
        <p:nvSpPr>
          <p:cNvPr id="7" name="Rectangle 6"/>
          <p:cNvSpPr/>
          <p:nvPr/>
        </p:nvSpPr>
        <p:spPr>
          <a:xfrm>
            <a:off x="1695842" y="2988271"/>
            <a:ext cx="7259421" cy="1477328"/>
          </a:xfrm>
          <a:prstGeom prst="rect">
            <a:avLst/>
          </a:prstGeom>
        </p:spPr>
        <p:txBody>
          <a:bodyPr wrap="square">
            <a:spAutoFit/>
          </a:bodyPr>
          <a:lstStyle/>
          <a:p>
            <a:pPr algn="just"/>
            <a:r>
              <a:rPr lang="en-ZA" b="1" dirty="0">
                <a:ea typeface="Times New Roman" charset="0"/>
              </a:rPr>
              <a:t>Develop: </a:t>
            </a:r>
            <a:r>
              <a:rPr lang="en-US" dirty="0">
                <a:ea typeface="Times New Roman" charset="0"/>
              </a:rPr>
              <a:t>Develop recommendations for UNCDF actions at country level based on findings and analysis from country assessment; prioritize recommendations for action and relationship with existing programme activities; and identify specific partnerships required for these recommendations</a:t>
            </a:r>
            <a:r>
              <a:rPr lang="en-US" sz="1600" dirty="0">
                <a:ea typeface="Times New Roman" charset="0"/>
              </a:rPr>
              <a:t>. </a:t>
            </a:r>
          </a:p>
        </p:txBody>
      </p:sp>
      <p:sp>
        <p:nvSpPr>
          <p:cNvPr id="8" name="Rectangle 7"/>
          <p:cNvSpPr/>
          <p:nvPr/>
        </p:nvSpPr>
        <p:spPr>
          <a:xfrm>
            <a:off x="1660736" y="4797152"/>
            <a:ext cx="7265912" cy="923330"/>
          </a:xfrm>
          <a:prstGeom prst="rect">
            <a:avLst/>
          </a:prstGeom>
        </p:spPr>
        <p:txBody>
          <a:bodyPr wrap="square">
            <a:spAutoFit/>
          </a:bodyPr>
          <a:lstStyle/>
          <a:p>
            <a:pPr algn="just"/>
            <a:r>
              <a:rPr lang="en-ZA" b="1" dirty="0">
                <a:ea typeface="Times New Roman" charset="0"/>
              </a:rPr>
              <a:t>Do: </a:t>
            </a:r>
            <a:r>
              <a:rPr lang="en-ZA" dirty="0">
                <a:ea typeface="Times New Roman" charset="0"/>
              </a:rPr>
              <a:t>Implement recommendations and partnerships through new country program activities or integration into existing program activities.</a:t>
            </a:r>
            <a:endParaRPr lang="en-US" dirty="0">
              <a:ea typeface="Times New Roman" charset="0"/>
            </a:endParaRPr>
          </a:p>
        </p:txBody>
      </p:sp>
      <p:pic>
        <p:nvPicPr>
          <p:cNvPr id="11" name="Picture 10">
            <a:extLst>
              <a:ext uri="{FF2B5EF4-FFF2-40B4-BE49-F238E27FC236}">
                <a16:creationId xmlns:a16="http://schemas.microsoft.com/office/drawing/2014/main" xmlns="" id="{64B27595-3524-49BE-8258-08DDF47B8891}"/>
              </a:ext>
            </a:extLst>
          </p:cNvPr>
          <p:cNvPicPr/>
          <p:nvPr/>
        </p:nvPicPr>
        <p:blipFill>
          <a:blip r:embed="rId2">
            <a:extLst>
              <a:ext uri="{28A0092B-C50C-407E-A947-70E740481C1C}">
                <a14:useLocalDpi xmlns:a14="http://schemas.microsoft.com/office/drawing/2010/main" val="0"/>
              </a:ext>
            </a:extLst>
          </a:blip>
          <a:stretch>
            <a:fillRect/>
          </a:stretch>
        </p:blipFill>
        <p:spPr>
          <a:xfrm>
            <a:off x="249653" y="1198206"/>
            <a:ext cx="1368152" cy="5327138"/>
          </a:xfrm>
          <a:prstGeom prst="rect">
            <a:avLst/>
          </a:prstGeom>
        </p:spPr>
      </p:pic>
      <p:sp>
        <p:nvSpPr>
          <p:cNvPr id="12" name="Rectangle 11">
            <a:extLst>
              <a:ext uri="{FF2B5EF4-FFF2-40B4-BE49-F238E27FC236}">
                <a16:creationId xmlns:a16="http://schemas.microsoft.com/office/drawing/2014/main" xmlns="" id="{48970D52-3AED-4466-8F28-2FEB0F44031C}"/>
              </a:ext>
            </a:extLst>
          </p:cNvPr>
          <p:cNvSpPr/>
          <p:nvPr/>
        </p:nvSpPr>
        <p:spPr>
          <a:xfrm>
            <a:off x="1669458" y="1756718"/>
            <a:ext cx="7257190" cy="923330"/>
          </a:xfrm>
          <a:prstGeom prst="rect">
            <a:avLst/>
          </a:prstGeom>
        </p:spPr>
        <p:txBody>
          <a:bodyPr wrap="square">
            <a:spAutoFit/>
          </a:bodyPr>
          <a:lstStyle/>
          <a:p>
            <a:pPr algn="just"/>
            <a:r>
              <a:rPr lang="en-ZA" b="1" dirty="0">
                <a:ea typeface="Times New Roman" charset="0"/>
              </a:rPr>
              <a:t>Diagnose:</a:t>
            </a:r>
            <a:r>
              <a:rPr lang="en-ZA" dirty="0">
                <a:ea typeface="Times New Roman" charset="0"/>
              </a:rPr>
              <a:t> Use the toolkit to run country-level diagnostics of the critical constraints to women and girls’ financial inclusion for economic empowerment.  </a:t>
            </a:r>
            <a:endParaRPr lang="en-US" dirty="0">
              <a:effectLst/>
              <a:ea typeface="Times New Roman" charset="0"/>
            </a:endParaRPr>
          </a:p>
        </p:txBody>
      </p:sp>
    </p:spTree>
    <p:extLst>
      <p:ext uri="{BB962C8B-B14F-4D97-AF65-F5344CB8AC3E}">
        <p14:creationId xmlns:p14="http://schemas.microsoft.com/office/powerpoint/2010/main" val="1781342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6B51C9F6-7914-4D77-B931-13E5AAE4CE54}"/>
              </a:ext>
            </a:extLst>
          </p:cNvPr>
          <p:cNvSpPr>
            <a:spLocks noGrp="1"/>
          </p:cNvSpPr>
          <p:nvPr>
            <p:ph type="body" sz="quarter" idx="10"/>
          </p:nvPr>
        </p:nvSpPr>
        <p:spPr>
          <a:xfrm>
            <a:off x="457200" y="0"/>
            <a:ext cx="8153400" cy="6553200"/>
          </a:xfrm>
        </p:spPr>
        <p:txBody>
          <a:bodyPr/>
          <a:lstStyle/>
          <a:p>
            <a:pPr algn="ctr"/>
            <a:r>
              <a:rPr lang="en-US" sz="2800" b="1" dirty="0"/>
              <a:t>Components of Access, Usage and Agency Country Assessment Toolkit</a:t>
            </a:r>
          </a:p>
        </p:txBody>
      </p:sp>
      <p:pic>
        <p:nvPicPr>
          <p:cNvPr id="3" name="Picture 2">
            <a:extLst>
              <a:ext uri="{FF2B5EF4-FFF2-40B4-BE49-F238E27FC236}">
                <a16:creationId xmlns:a16="http://schemas.microsoft.com/office/drawing/2014/main" xmlns="" id="{AF73E16E-C768-4E24-8F0E-81D245B6B2CA}"/>
              </a:ext>
            </a:extLst>
          </p:cNvPr>
          <p:cNvPicPr/>
          <p:nvPr/>
        </p:nvPicPr>
        <p:blipFill>
          <a:blip r:embed="rId3">
            <a:extLst>
              <a:ext uri="{28A0092B-C50C-407E-A947-70E740481C1C}">
                <a14:useLocalDpi xmlns:a14="http://schemas.microsoft.com/office/drawing/2010/main" val="0"/>
              </a:ext>
            </a:extLst>
          </a:blip>
          <a:stretch>
            <a:fillRect/>
          </a:stretch>
        </p:blipFill>
        <p:spPr>
          <a:xfrm>
            <a:off x="251520" y="1124744"/>
            <a:ext cx="8753415" cy="5753728"/>
          </a:xfrm>
          <a:prstGeom prst="rect">
            <a:avLst/>
          </a:prstGeom>
        </p:spPr>
      </p:pic>
    </p:spTree>
    <p:extLst>
      <p:ext uri="{BB962C8B-B14F-4D97-AF65-F5344CB8AC3E}">
        <p14:creationId xmlns:p14="http://schemas.microsoft.com/office/powerpoint/2010/main" val="29123581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th Porter</a:t>
            </a:r>
            <a:br>
              <a:rPr lang="en-US" dirty="0"/>
            </a:br>
            <a:r>
              <a:rPr lang="en-US" dirty="0">
                <a:hlinkClick r:id="rId3"/>
              </a:rPr>
              <a:t>Beth.Porter@uncdf.org</a:t>
            </a:r>
            <a:r>
              <a:rPr lang="en-US" dirty="0"/>
              <a:t>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1124744"/>
            <a:ext cx="9144000" cy="5428456"/>
          </a:xfrm>
        </p:spPr>
        <p:txBody>
          <a:bodyPr/>
          <a:lstStyle/>
          <a:p>
            <a:r>
              <a:rPr lang="en-US" sz="1800" b="1" dirty="0"/>
              <a:t>Objective: </a:t>
            </a:r>
          </a:p>
          <a:p>
            <a:r>
              <a:rPr lang="en-US" sz="1800" dirty="0"/>
              <a:t>Share and validate Tan country assessment findings and insights on key constraints and enablers of women and girls’ access, usage and control of finance across supply, demand and the enabling environment and the cross-cutting socio-cultural context.</a:t>
            </a:r>
          </a:p>
          <a:p>
            <a:r>
              <a:rPr lang="en-US" sz="1800" b="1" dirty="0"/>
              <a:t>By the end of the workshop, participants will have: </a:t>
            </a:r>
          </a:p>
          <a:p>
            <a:pPr marL="285750" indent="-285750">
              <a:buFont typeface="Arial" panose="020B0604020202020204" pitchFamily="34" charset="0"/>
              <a:buChar char="•"/>
            </a:pPr>
            <a:r>
              <a:rPr lang="en-US" sz="1800" dirty="0"/>
              <a:t>Been exposed to country assessment toolkit and how use  for complementary insights to other studies and data and inform </a:t>
            </a:r>
            <a:r>
              <a:rPr lang="en-US" sz="1800" dirty="0" err="1"/>
              <a:t>programme</a:t>
            </a:r>
            <a:r>
              <a:rPr lang="en-US" sz="1800" dirty="0"/>
              <a:t> design and partnership strategies.</a:t>
            </a:r>
          </a:p>
          <a:p>
            <a:pPr marL="285750" indent="-285750">
              <a:buFont typeface="Arial" panose="020B0604020202020204" pitchFamily="34" charset="0"/>
              <a:buChar char="•"/>
            </a:pPr>
            <a:r>
              <a:rPr lang="en-US" sz="1800" dirty="0"/>
              <a:t>Heard key findings from country assessment report.</a:t>
            </a:r>
          </a:p>
          <a:p>
            <a:pPr marL="285750" indent="-285750">
              <a:buFont typeface="Arial" panose="020B0604020202020204" pitchFamily="34" charset="0"/>
              <a:buChar char="•"/>
            </a:pPr>
            <a:r>
              <a:rPr lang="en-US" sz="1800" dirty="0"/>
              <a:t>Validated findings and helped prioritized recommendations for action.</a:t>
            </a:r>
          </a:p>
          <a:p>
            <a:r>
              <a:rPr lang="en-US" sz="1800" b="1" dirty="0"/>
              <a:t>Participants: </a:t>
            </a:r>
          </a:p>
          <a:p>
            <a:r>
              <a:rPr lang="en-US" sz="1800" dirty="0"/>
              <a:t>Representatives of multiple stakeholder groups including government (policymakers, line ministries, regulators), financial service providers (banks, digital financial service providers, microfinance organizations), private sector and business associations, civil society representatives, researchers, and bilateral and multilateral development agencies. </a:t>
            </a:r>
          </a:p>
        </p:txBody>
      </p:sp>
      <p:sp>
        <p:nvSpPr>
          <p:cNvPr id="3" name="Title 2"/>
          <p:cNvSpPr>
            <a:spLocks noGrp="1"/>
          </p:cNvSpPr>
          <p:nvPr>
            <p:ph type="title"/>
          </p:nvPr>
        </p:nvSpPr>
        <p:spPr>
          <a:xfrm>
            <a:off x="107504" y="116632"/>
            <a:ext cx="8208912" cy="797768"/>
          </a:xfrm>
        </p:spPr>
        <p:txBody>
          <a:bodyPr/>
          <a:lstStyle/>
          <a:p>
            <a:pPr algn="ctr"/>
            <a:r>
              <a:rPr lang="en-US" sz="2800" dirty="0"/>
              <a:t>Senegal Financial Services for Women &amp; Girls Country Assessment Workshop</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06861" y="5535983"/>
            <a:ext cx="1751796" cy="132242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9729" y="5571278"/>
            <a:ext cx="1654759" cy="1263580"/>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92959" y="5558278"/>
            <a:ext cx="1710770" cy="1302081"/>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54398" y="5558278"/>
            <a:ext cx="1701391" cy="1299721"/>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9950" y="5558278"/>
            <a:ext cx="1704483" cy="1302081"/>
          </a:xfrm>
          <a:prstGeom prst="rect">
            <a:avLst/>
          </a:prstGeom>
        </p:spPr>
      </p:pic>
      <p:pic>
        <p:nvPicPr>
          <p:cNvPr id="10" name="Picture 9">
            <a:extLst>
              <a:ext uri="{FF2B5EF4-FFF2-40B4-BE49-F238E27FC236}">
                <a16:creationId xmlns:a16="http://schemas.microsoft.com/office/drawing/2014/main" xmlns="" id="{8EFB1BB4-4883-4429-B4E9-F4FE4647180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57933" y="5583782"/>
            <a:ext cx="1751796" cy="1322420"/>
          </a:xfrm>
          <a:prstGeom prst="rect">
            <a:avLst/>
          </a:prstGeom>
        </p:spPr>
      </p:pic>
      <p:pic>
        <p:nvPicPr>
          <p:cNvPr id="11" name="Picture 10">
            <a:extLst>
              <a:ext uri="{FF2B5EF4-FFF2-40B4-BE49-F238E27FC236}">
                <a16:creationId xmlns:a16="http://schemas.microsoft.com/office/drawing/2014/main" xmlns="" id="{B8DF1910-418C-4E0F-A3DD-C68BA41676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0801" y="5619077"/>
            <a:ext cx="1654759" cy="1263580"/>
          </a:xfrm>
          <a:prstGeom prst="rect">
            <a:avLst/>
          </a:prstGeom>
        </p:spPr>
      </p:pic>
      <p:pic>
        <p:nvPicPr>
          <p:cNvPr id="12" name="Picture 11">
            <a:extLst>
              <a:ext uri="{FF2B5EF4-FFF2-40B4-BE49-F238E27FC236}">
                <a16:creationId xmlns:a16="http://schemas.microsoft.com/office/drawing/2014/main" xmlns="" id="{1D4A4E67-CF7E-4998-A44C-EB93A8C78E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4031" y="5606077"/>
            <a:ext cx="1710770" cy="1302081"/>
          </a:xfrm>
          <a:prstGeom prst="rect">
            <a:avLst/>
          </a:prstGeom>
        </p:spPr>
      </p:pic>
      <p:pic>
        <p:nvPicPr>
          <p:cNvPr id="13" name="Picture 12">
            <a:extLst>
              <a:ext uri="{FF2B5EF4-FFF2-40B4-BE49-F238E27FC236}">
                <a16:creationId xmlns:a16="http://schemas.microsoft.com/office/drawing/2014/main" xmlns="" id="{198A5D7E-8130-44D8-9609-CC67F71376F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05470" y="5606077"/>
            <a:ext cx="1701391" cy="1299721"/>
          </a:xfrm>
          <a:prstGeom prst="rect">
            <a:avLst/>
          </a:prstGeom>
        </p:spPr>
      </p:pic>
      <p:pic>
        <p:nvPicPr>
          <p:cNvPr id="14" name="Picture 13">
            <a:extLst>
              <a:ext uri="{FF2B5EF4-FFF2-40B4-BE49-F238E27FC236}">
                <a16:creationId xmlns:a16="http://schemas.microsoft.com/office/drawing/2014/main" xmlns="" id="{E7DDE596-448B-4003-88E8-1ACCFAE8F19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1022" y="5606077"/>
            <a:ext cx="1704483" cy="1302081"/>
          </a:xfrm>
          <a:prstGeom prst="rect">
            <a:avLst/>
          </a:prstGeom>
        </p:spPr>
      </p:pic>
    </p:spTree>
    <p:extLst>
      <p:ext uri="{BB962C8B-B14F-4D97-AF65-F5344CB8AC3E}">
        <p14:creationId xmlns:p14="http://schemas.microsoft.com/office/powerpoint/2010/main" val="17908703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5941" y="185834"/>
            <a:ext cx="7931224" cy="609600"/>
          </a:xfrm>
        </p:spPr>
        <p:txBody>
          <a:bodyPr/>
          <a:lstStyle/>
          <a:p>
            <a:pPr algn="ctr"/>
            <a:r>
              <a:rPr lang="en-US" sz="2800" dirty="0"/>
              <a:t>Senegal Country Assessment Workshop Agenda </a:t>
            </a:r>
          </a:p>
        </p:txBody>
      </p:sp>
      <p:graphicFrame>
        <p:nvGraphicFramePr>
          <p:cNvPr id="8" name="Table 7"/>
          <p:cNvGraphicFramePr>
            <a:graphicFrameLocks noGrp="1"/>
          </p:cNvGraphicFramePr>
          <p:nvPr>
            <p:extLst>
              <p:ext uri="{D42A27DB-BD31-4B8C-83A1-F6EECF244321}">
                <p14:modId xmlns:p14="http://schemas.microsoft.com/office/powerpoint/2010/main" val="2084597940"/>
              </p:ext>
            </p:extLst>
          </p:nvPr>
        </p:nvGraphicFramePr>
        <p:xfrm>
          <a:off x="467544" y="1340768"/>
          <a:ext cx="8280920" cy="5273040"/>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xmlns="" val="20000"/>
                    </a:ext>
                  </a:extLst>
                </a:gridCol>
                <a:gridCol w="6696744">
                  <a:extLst>
                    <a:ext uri="{9D8B030D-6E8A-4147-A177-3AD203B41FA5}">
                      <a16:colId xmlns:a16="http://schemas.microsoft.com/office/drawing/2014/main" xmlns="" val="2926790347"/>
                    </a:ext>
                  </a:extLst>
                </a:gridCol>
              </a:tblGrid>
              <a:tr h="0">
                <a:tc gridSpan="2">
                  <a:txBody>
                    <a:bodyPr/>
                    <a:lstStyle/>
                    <a:p>
                      <a:pPr algn="ctr"/>
                      <a:r>
                        <a:rPr lang="en-US" sz="2000" dirty="0"/>
                        <a:t>Agend</a:t>
                      </a:r>
                      <a:r>
                        <a:rPr lang="en-US" sz="2000" baseline="0" dirty="0"/>
                        <a:t>a 16 November 2017</a:t>
                      </a:r>
                      <a:endParaRPr lang="en-US" sz="2000" dirty="0"/>
                    </a:p>
                  </a:txBody>
                  <a:tcPr/>
                </a:tc>
                <a:tc hMerge="1">
                  <a:txBody>
                    <a:bodyPr/>
                    <a:lstStyle/>
                    <a:p>
                      <a:endParaRPr lang="en-US" sz="1600" dirty="0"/>
                    </a:p>
                  </a:txBody>
                  <a:tcPr/>
                </a:tc>
                <a:extLst>
                  <a:ext uri="{0D108BD9-81ED-4DB2-BD59-A6C34878D82A}">
                    <a16:rowId xmlns:a16="http://schemas.microsoft.com/office/drawing/2014/main" xmlns="" val="10000"/>
                  </a:ext>
                </a:extLst>
              </a:tr>
              <a:tr h="290225">
                <a:tc>
                  <a:txBody>
                    <a:bodyPr/>
                    <a:lstStyle/>
                    <a:p>
                      <a:r>
                        <a:rPr lang="en-US" sz="2000" dirty="0"/>
                        <a:t>8:30</a:t>
                      </a:r>
                    </a:p>
                  </a:txBody>
                  <a:tcPr/>
                </a:tc>
                <a:tc>
                  <a:txBody>
                    <a:bodyPr/>
                    <a:lstStyle/>
                    <a:p>
                      <a:r>
                        <a:rPr lang="en-US" sz="2000" dirty="0"/>
                        <a:t>Registration</a:t>
                      </a:r>
                    </a:p>
                  </a:txBody>
                  <a:tcPr/>
                </a:tc>
                <a:extLst>
                  <a:ext uri="{0D108BD9-81ED-4DB2-BD59-A6C34878D82A}">
                    <a16:rowId xmlns:a16="http://schemas.microsoft.com/office/drawing/2014/main" xmlns="" val="835653123"/>
                  </a:ext>
                </a:extLst>
              </a:tr>
              <a:tr h="245169">
                <a:tc>
                  <a:txBody>
                    <a:bodyPr/>
                    <a:lstStyle/>
                    <a:p>
                      <a:r>
                        <a:rPr lang="en-US" sz="2000" dirty="0"/>
                        <a:t>9:00</a:t>
                      </a:r>
                    </a:p>
                  </a:txBody>
                  <a:tcPr/>
                </a:tc>
                <a:tc>
                  <a:txBody>
                    <a:bodyPr/>
                    <a:lstStyle/>
                    <a:p>
                      <a:r>
                        <a:rPr lang="en-US" sz="2000" dirty="0"/>
                        <a:t>Welcome</a:t>
                      </a:r>
                    </a:p>
                  </a:txBody>
                  <a:tcPr/>
                </a:tc>
                <a:extLst>
                  <a:ext uri="{0D108BD9-81ED-4DB2-BD59-A6C34878D82A}">
                    <a16:rowId xmlns:a16="http://schemas.microsoft.com/office/drawing/2014/main" xmlns="" val="3380906370"/>
                  </a:ext>
                </a:extLst>
              </a:tr>
              <a:tr h="200114">
                <a:tc>
                  <a:txBody>
                    <a:bodyPr/>
                    <a:lstStyle/>
                    <a:p>
                      <a:r>
                        <a:rPr lang="en-US" sz="2000" dirty="0"/>
                        <a:t>9:05</a:t>
                      </a:r>
                    </a:p>
                  </a:txBody>
                  <a:tcPr/>
                </a:tc>
                <a:tc>
                  <a:txBody>
                    <a:bodyPr/>
                    <a:lstStyle/>
                    <a:p>
                      <a:r>
                        <a:rPr lang="en-US" sz="2000" dirty="0"/>
                        <a:t>Introduction to the UNCDF </a:t>
                      </a:r>
                      <a:r>
                        <a:rPr lang="en-US" sz="2000" dirty="0" err="1"/>
                        <a:t>PoWER</a:t>
                      </a:r>
                      <a:r>
                        <a:rPr lang="en-US" sz="2000" dirty="0"/>
                        <a:t> Strategy</a:t>
                      </a:r>
                    </a:p>
                  </a:txBody>
                  <a:tcPr/>
                </a:tc>
                <a:extLst>
                  <a:ext uri="{0D108BD9-81ED-4DB2-BD59-A6C34878D82A}">
                    <a16:rowId xmlns:a16="http://schemas.microsoft.com/office/drawing/2014/main" xmlns="" val="1365227183"/>
                  </a:ext>
                </a:extLst>
              </a:tr>
              <a:tr h="155059">
                <a:tc>
                  <a:txBody>
                    <a:bodyPr/>
                    <a:lstStyle/>
                    <a:p>
                      <a:r>
                        <a:rPr lang="en-US" sz="2000" dirty="0"/>
                        <a:t>9:20</a:t>
                      </a:r>
                    </a:p>
                  </a:txBody>
                  <a:tcPr/>
                </a:tc>
                <a:tc>
                  <a:txBody>
                    <a:bodyPr/>
                    <a:lstStyle/>
                    <a:p>
                      <a:r>
                        <a:rPr lang="en-US" sz="2000" dirty="0"/>
                        <a:t>Country Assessment Findings and Q&amp;A</a:t>
                      </a:r>
                    </a:p>
                  </a:txBody>
                  <a:tcPr/>
                </a:tc>
                <a:extLst>
                  <a:ext uri="{0D108BD9-81ED-4DB2-BD59-A6C34878D82A}">
                    <a16:rowId xmlns:a16="http://schemas.microsoft.com/office/drawing/2014/main" xmlns="" val="343052074"/>
                  </a:ext>
                </a:extLst>
              </a:tr>
              <a:tr h="0">
                <a:tc>
                  <a:txBody>
                    <a:bodyPr/>
                    <a:lstStyle/>
                    <a:p>
                      <a:r>
                        <a:rPr lang="en-US" sz="2000" dirty="0"/>
                        <a:t>10:30 </a:t>
                      </a:r>
                    </a:p>
                  </a:txBody>
                  <a:tcPr/>
                </a:tc>
                <a:tc>
                  <a:txBody>
                    <a:bodyPr/>
                    <a:lstStyle/>
                    <a:p>
                      <a:r>
                        <a:rPr lang="en-US" sz="2000" dirty="0"/>
                        <a:t>Coffee/tea break</a:t>
                      </a:r>
                    </a:p>
                  </a:txBody>
                  <a:tcPr/>
                </a:tc>
                <a:extLst>
                  <a:ext uri="{0D108BD9-81ED-4DB2-BD59-A6C34878D82A}">
                    <a16:rowId xmlns:a16="http://schemas.microsoft.com/office/drawing/2014/main" xmlns="" val="809002009"/>
                  </a:ext>
                </a:extLst>
              </a:tr>
              <a:tr h="0">
                <a:tc>
                  <a:txBody>
                    <a:bodyPr/>
                    <a:lstStyle/>
                    <a:p>
                      <a:r>
                        <a:rPr lang="en-US" sz="2000" dirty="0"/>
                        <a:t>10:45</a:t>
                      </a:r>
                    </a:p>
                  </a:txBody>
                  <a:tcPr/>
                </a:tc>
                <a:tc>
                  <a:txBody>
                    <a:bodyPr/>
                    <a:lstStyle/>
                    <a:p>
                      <a:r>
                        <a:rPr lang="en-US" sz="2000" dirty="0"/>
                        <a:t>Prioritization of constraints to women’s and girls’ financial inclusion</a:t>
                      </a:r>
                    </a:p>
                  </a:txBody>
                  <a:tcPr/>
                </a:tc>
                <a:extLst>
                  <a:ext uri="{0D108BD9-81ED-4DB2-BD59-A6C34878D82A}">
                    <a16:rowId xmlns:a16="http://schemas.microsoft.com/office/drawing/2014/main" xmlns="" val="3193150835"/>
                  </a:ext>
                </a:extLst>
              </a:tr>
              <a:tr h="0">
                <a:tc>
                  <a:txBody>
                    <a:bodyPr/>
                    <a:lstStyle/>
                    <a:p>
                      <a:r>
                        <a:rPr lang="en-US" sz="2000" dirty="0"/>
                        <a:t>11:05</a:t>
                      </a:r>
                    </a:p>
                  </a:txBody>
                  <a:tcPr/>
                </a:tc>
                <a:tc>
                  <a:txBody>
                    <a:bodyPr/>
                    <a:lstStyle/>
                    <a:p>
                      <a:r>
                        <a:rPr lang="en-US" sz="2000" dirty="0"/>
                        <a:t>Discussions on prioritization of UNCDF recommendations to address each of the identified constraints</a:t>
                      </a:r>
                    </a:p>
                  </a:txBody>
                  <a:tcPr/>
                </a:tc>
                <a:extLst>
                  <a:ext uri="{0D108BD9-81ED-4DB2-BD59-A6C34878D82A}">
                    <a16:rowId xmlns:a16="http://schemas.microsoft.com/office/drawing/2014/main" xmlns="" val="1740989988"/>
                  </a:ext>
                </a:extLst>
              </a:tr>
              <a:tr h="0">
                <a:tc>
                  <a:txBody>
                    <a:bodyPr/>
                    <a:lstStyle/>
                    <a:p>
                      <a:r>
                        <a:rPr lang="en-US" sz="2000" dirty="0"/>
                        <a:t>11:45</a:t>
                      </a:r>
                    </a:p>
                  </a:txBody>
                  <a:tcPr/>
                </a:tc>
                <a:tc>
                  <a:txBody>
                    <a:bodyPr/>
                    <a:lstStyle/>
                    <a:p>
                      <a:r>
                        <a:rPr lang="en-US" sz="2000" dirty="0"/>
                        <a:t>Plenary feedback on results of sub-group discussions on prioritization</a:t>
                      </a:r>
                    </a:p>
                  </a:txBody>
                  <a:tcPr/>
                </a:tc>
                <a:extLst>
                  <a:ext uri="{0D108BD9-81ED-4DB2-BD59-A6C34878D82A}">
                    <a16:rowId xmlns:a16="http://schemas.microsoft.com/office/drawing/2014/main" xmlns="" val="3036311254"/>
                  </a:ext>
                </a:extLst>
              </a:tr>
              <a:tr h="0">
                <a:tc>
                  <a:txBody>
                    <a:bodyPr/>
                    <a:lstStyle/>
                    <a:p>
                      <a:r>
                        <a:rPr lang="en-US" sz="2000" dirty="0"/>
                        <a:t>12:15</a:t>
                      </a:r>
                    </a:p>
                  </a:txBody>
                  <a:tcPr/>
                </a:tc>
                <a:tc>
                  <a:txBody>
                    <a:bodyPr/>
                    <a:lstStyle/>
                    <a:p>
                      <a:r>
                        <a:rPr lang="en-US" sz="2000" dirty="0"/>
                        <a:t>Closing remarks</a:t>
                      </a:r>
                    </a:p>
                  </a:txBody>
                  <a:tcPr/>
                </a:tc>
                <a:extLst>
                  <a:ext uri="{0D108BD9-81ED-4DB2-BD59-A6C34878D82A}">
                    <a16:rowId xmlns:a16="http://schemas.microsoft.com/office/drawing/2014/main" xmlns="" val="1276669765"/>
                  </a:ext>
                </a:extLst>
              </a:tr>
              <a:tr h="0">
                <a:tc>
                  <a:txBody>
                    <a:bodyPr/>
                    <a:lstStyle/>
                    <a:p>
                      <a:r>
                        <a:rPr lang="en-US" sz="2000" dirty="0"/>
                        <a:t>12:30</a:t>
                      </a:r>
                    </a:p>
                  </a:txBody>
                  <a:tcPr/>
                </a:tc>
                <a:tc>
                  <a:txBody>
                    <a:bodyPr/>
                    <a:lstStyle/>
                    <a:p>
                      <a:r>
                        <a:rPr lang="en-US" sz="2000" dirty="0"/>
                        <a:t>Lunch</a:t>
                      </a:r>
                    </a:p>
                  </a:txBody>
                  <a:tcPr/>
                </a:tc>
                <a:extLst>
                  <a:ext uri="{0D108BD9-81ED-4DB2-BD59-A6C34878D82A}">
                    <a16:rowId xmlns:a16="http://schemas.microsoft.com/office/drawing/2014/main" xmlns="" val="3689435060"/>
                  </a:ext>
                </a:extLst>
              </a:tr>
            </a:tbl>
          </a:graphicData>
        </a:graphic>
      </p:graphicFrame>
    </p:spTree>
    <p:extLst>
      <p:ext uri="{BB962C8B-B14F-4D97-AF65-F5344CB8AC3E}">
        <p14:creationId xmlns:p14="http://schemas.microsoft.com/office/powerpoint/2010/main" val="2101407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511" y="304800"/>
            <a:ext cx="7921489" cy="609600"/>
          </a:xfrm>
        </p:spPr>
        <p:txBody>
          <a:bodyPr/>
          <a:lstStyle/>
          <a:p>
            <a:r>
              <a:rPr lang="en-US" dirty="0"/>
              <a:t>Global </a:t>
            </a:r>
            <a:r>
              <a:rPr lang="en-US" dirty="0" err="1"/>
              <a:t>PoWER</a:t>
            </a:r>
            <a:r>
              <a:rPr lang="en-US" dirty="0"/>
              <a:t> Strategic Goal 2018-2022</a:t>
            </a:r>
          </a:p>
        </p:txBody>
      </p:sp>
      <p:sp>
        <p:nvSpPr>
          <p:cNvPr id="5" name="TextBox 4"/>
          <p:cNvSpPr txBox="1"/>
          <p:nvPr/>
        </p:nvSpPr>
        <p:spPr>
          <a:xfrm>
            <a:off x="426977" y="1545694"/>
            <a:ext cx="7715200" cy="2031325"/>
          </a:xfrm>
          <a:prstGeom prst="rect">
            <a:avLst/>
          </a:prstGeom>
          <a:noFill/>
          <a:ln w="38100">
            <a:solidFill>
              <a:schemeClr val="tx2"/>
            </a:solidFill>
          </a:ln>
        </p:spPr>
        <p:txBody>
          <a:bodyPr wrap="square" rtlCol="0">
            <a:spAutoFit/>
          </a:bodyPr>
          <a:lstStyle/>
          <a:p>
            <a:r>
              <a:rPr lang="en-GB" dirty="0"/>
              <a:t>By 2022, nearly </a:t>
            </a:r>
            <a:r>
              <a:rPr lang="en-GB" b="1" dirty="0"/>
              <a:t>two million women and girls</a:t>
            </a:r>
            <a:r>
              <a:rPr lang="en-GB" dirty="0"/>
              <a:t>, in</a:t>
            </a:r>
            <a:r>
              <a:rPr lang="en-GB" b="1" dirty="0"/>
              <a:t> ten countries</a:t>
            </a:r>
            <a:r>
              <a:rPr lang="en-GB" dirty="0"/>
              <a:t>, starting with the five LDCs of </a:t>
            </a:r>
            <a:r>
              <a:rPr lang="en-GB" b="1" dirty="0"/>
              <a:t>Bangladesh, Ethiopia, Myanmar, Senegal, Tanzania</a:t>
            </a:r>
            <a:r>
              <a:rPr lang="en-GB" dirty="0"/>
              <a:t>, will have improved awareness of, access to, use of and control over financial products and</a:t>
            </a:r>
            <a:r>
              <a:rPr lang="en-US" dirty="0"/>
              <a:t> services responsibly provided by diverse and sustainable service providers in a well-regulated environment. In addition, the enabling environment and the socio-cultural context for greater access and agency for women and girls will be improved in these countries.</a:t>
            </a:r>
            <a:r>
              <a:rPr lang="en-US" i="1" dirty="0"/>
              <a:t>  </a:t>
            </a:r>
            <a:endParaRPr lang="en-US" dirty="0"/>
          </a:p>
        </p:txBody>
      </p:sp>
      <p:sp>
        <p:nvSpPr>
          <p:cNvPr id="6" name="Rectangle 5"/>
          <p:cNvSpPr/>
          <p:nvPr/>
        </p:nvSpPr>
        <p:spPr>
          <a:xfrm>
            <a:off x="468153" y="4293096"/>
            <a:ext cx="7632848" cy="923330"/>
          </a:xfrm>
          <a:prstGeom prst="rect">
            <a:avLst/>
          </a:prstGeom>
          <a:solidFill>
            <a:schemeClr val="bg1">
              <a:lumMod val="85000"/>
            </a:schemeClr>
          </a:solidFill>
        </p:spPr>
        <p:txBody>
          <a:bodyPr wrap="square">
            <a:spAutoFit/>
          </a:bodyPr>
          <a:lstStyle/>
          <a:p>
            <a:pPr algn="ctr"/>
            <a:r>
              <a:rPr lang="en-US" i="1" dirty="0">
                <a:ea typeface="Calibri" charset="0"/>
                <a:cs typeface="Times New Roman" charset="0"/>
              </a:rPr>
              <a:t>The Global </a:t>
            </a:r>
            <a:r>
              <a:rPr lang="en-US" i="1" dirty="0" err="1">
                <a:ea typeface="Calibri" charset="0"/>
                <a:cs typeface="Times New Roman" charset="0"/>
              </a:rPr>
              <a:t>PoWER</a:t>
            </a:r>
            <a:r>
              <a:rPr lang="en-US" i="1" dirty="0">
                <a:ea typeface="Calibri" charset="0"/>
                <a:cs typeface="Times New Roman" charset="0"/>
              </a:rPr>
              <a:t> Strategy Theory of Change (TOC) assumes that this will contribute to </a:t>
            </a:r>
            <a:r>
              <a:rPr lang="en-US" b="1" i="1" dirty="0">
                <a:ea typeface="Calibri" charset="0"/>
                <a:cs typeface="Times New Roman" charset="0"/>
              </a:rPr>
              <a:t>more inclusive financial markets</a:t>
            </a:r>
            <a:r>
              <a:rPr lang="en-US" i="1" dirty="0">
                <a:ea typeface="Calibri" charset="0"/>
                <a:cs typeface="Times New Roman" charset="0"/>
              </a:rPr>
              <a:t> that </a:t>
            </a:r>
            <a:r>
              <a:rPr lang="en-US" b="1" i="1" dirty="0">
                <a:ea typeface="Calibri" charset="0"/>
                <a:cs typeface="Times New Roman" charset="0"/>
              </a:rPr>
              <a:t>drive women’s and girls' economic empowerment and participation</a:t>
            </a:r>
            <a:r>
              <a:rPr lang="en-US" i="1" dirty="0"/>
              <a:t> </a:t>
            </a:r>
          </a:p>
        </p:txBody>
      </p:sp>
    </p:spTree>
    <p:extLst>
      <p:ext uri="{BB962C8B-B14F-4D97-AF65-F5344CB8AC3E}">
        <p14:creationId xmlns:p14="http://schemas.microsoft.com/office/powerpoint/2010/main" val="5280109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3363" name="think-cell Slide" r:id="rId5" imgW="393" imgH="394" progId="TCLayout.ActiveDocument.1">
                  <p:embed/>
                </p:oleObj>
              </mc:Choice>
              <mc:Fallback>
                <p:oleObj name="think-cell Slide" r:id="rId5" imgW="393" imgH="394" progId="TCLayout.ActiveDocument.1">
                  <p:embed/>
                  <p:pic>
                    <p:nvPicPr>
                      <p:cNvPr id="0" name=""/>
                      <p:cNvPicPr/>
                      <p:nvPr/>
                    </p:nvPicPr>
                    <p:blipFill>
                      <a:blip r:embed="rId6"/>
                      <a:stretch>
                        <a:fillRect/>
                      </a:stretch>
                    </p:blipFill>
                    <p:spPr>
                      <a:xfrm>
                        <a:off x="1466" y="265236"/>
                        <a:ext cx="1465" cy="1465"/>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xmlns="" id="{ADF905C2-7EF3-4DA4-B59C-1B50FA3FFBC3}"/>
              </a:ext>
            </a:extLst>
          </p:cNvPr>
          <p:cNvGrpSpPr/>
          <p:nvPr/>
        </p:nvGrpSpPr>
        <p:grpSpPr>
          <a:xfrm>
            <a:off x="5629469" y="4503230"/>
            <a:ext cx="3505200" cy="2354770"/>
            <a:chOff x="5632166" y="4506463"/>
            <a:chExt cx="3505200" cy="2343169"/>
          </a:xfrm>
        </p:grpSpPr>
        <p:sp>
          <p:nvSpPr>
            <p:cNvPr id="2" name="Rectangle 1">
              <a:extLst>
                <a:ext uri="{FF2B5EF4-FFF2-40B4-BE49-F238E27FC236}">
                  <a16:creationId xmlns:a16="http://schemas.microsoft.com/office/drawing/2014/main" xmlns="" id="{40DB9C1A-C17D-4E77-B7F0-7317877B7F74}"/>
                </a:ext>
              </a:extLst>
            </p:cNvPr>
            <p:cNvSpPr/>
            <p:nvPr/>
          </p:nvSpPr>
          <p:spPr>
            <a:xfrm>
              <a:off x="5632166" y="4506463"/>
              <a:ext cx="3505200" cy="234316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Shape 63">
              <a:extLst>
                <a:ext uri="{FF2B5EF4-FFF2-40B4-BE49-F238E27FC236}">
                  <a16:creationId xmlns:a16="http://schemas.microsoft.com/office/drawing/2014/main" xmlns="" id="{6178D88A-DE12-42EA-BC74-34CA3374E697}"/>
                </a:ext>
              </a:extLst>
            </p:cNvPr>
            <p:cNvSpPr/>
            <p:nvPr/>
          </p:nvSpPr>
          <p:spPr>
            <a:xfrm>
              <a:off x="6858010" y="4945205"/>
              <a:ext cx="976727" cy="923925"/>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rgbClr val="D99694">
                <a:alpha val="43137"/>
              </a:srgbClr>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algn="ctr" defTabSz="1887463">
                <a:lnSpc>
                  <a:spcPct val="90000"/>
                </a:lnSpc>
                <a:spcBef>
                  <a:spcPct val="0"/>
                </a:spcBef>
                <a:spcAft>
                  <a:spcPct val="35000"/>
                </a:spcAft>
                <a:defRPr/>
              </a:pPr>
              <a:r>
                <a:rPr lang="en-US" sz="1100" kern="0" dirty="0">
                  <a:solidFill>
                    <a:schemeClr val="tx1"/>
                  </a:solidFill>
                </a:rPr>
                <a:t>Work     opportunities </a:t>
              </a:r>
            </a:p>
          </p:txBody>
        </p:sp>
        <p:sp>
          <p:nvSpPr>
            <p:cNvPr id="65" name="Freeform: Shape 64">
              <a:extLst>
                <a:ext uri="{FF2B5EF4-FFF2-40B4-BE49-F238E27FC236}">
                  <a16:creationId xmlns:a16="http://schemas.microsoft.com/office/drawing/2014/main" xmlns="" id="{7993DF4F-F0D5-48CE-AFEB-BA610FCF9050}"/>
                </a:ext>
              </a:extLst>
            </p:cNvPr>
            <p:cNvSpPr/>
            <p:nvPr/>
          </p:nvSpPr>
          <p:spPr>
            <a:xfrm>
              <a:off x="7890548" y="4921733"/>
              <a:ext cx="1071248" cy="983533"/>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rgbClr val="D99694">
                <a:alpha val="43137"/>
              </a:srgbClr>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algn="ctr" defTabSz="1887463">
                <a:lnSpc>
                  <a:spcPct val="90000"/>
                </a:lnSpc>
                <a:spcBef>
                  <a:spcPct val="0"/>
                </a:spcBef>
                <a:spcAft>
                  <a:spcPct val="35000"/>
                </a:spcAft>
                <a:defRPr/>
              </a:pPr>
              <a:r>
                <a:rPr lang="en-US" sz="1100" kern="0" dirty="0">
                  <a:solidFill>
                    <a:schemeClr val="tx1"/>
                  </a:solidFill>
                </a:rPr>
                <a:t>Property    and assets</a:t>
              </a:r>
            </a:p>
          </p:txBody>
        </p:sp>
        <p:sp>
          <p:nvSpPr>
            <p:cNvPr id="66" name="Freeform: Shape 65">
              <a:extLst>
                <a:ext uri="{FF2B5EF4-FFF2-40B4-BE49-F238E27FC236}">
                  <a16:creationId xmlns:a16="http://schemas.microsoft.com/office/drawing/2014/main" xmlns="" id="{76B9AEF1-196C-4D98-BB66-DFF411545810}"/>
                </a:ext>
              </a:extLst>
            </p:cNvPr>
            <p:cNvSpPr/>
            <p:nvPr/>
          </p:nvSpPr>
          <p:spPr>
            <a:xfrm>
              <a:off x="7921894" y="5858338"/>
              <a:ext cx="976727" cy="923925"/>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rgbClr val="D99694">
                <a:alpha val="43137"/>
              </a:srgbClr>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algn="ctr" defTabSz="1887463">
                <a:lnSpc>
                  <a:spcPct val="90000"/>
                </a:lnSpc>
                <a:spcBef>
                  <a:spcPct val="0"/>
                </a:spcBef>
                <a:spcAft>
                  <a:spcPct val="35000"/>
                </a:spcAft>
                <a:defRPr/>
              </a:pPr>
              <a:endParaRPr lang="en-US" sz="1100" kern="0" dirty="0">
                <a:solidFill>
                  <a:schemeClr val="tx1"/>
                </a:solidFill>
              </a:endParaRPr>
            </a:p>
            <a:p>
              <a:pPr algn="ctr" defTabSz="1887463">
                <a:lnSpc>
                  <a:spcPct val="90000"/>
                </a:lnSpc>
                <a:spcBef>
                  <a:spcPct val="0"/>
                </a:spcBef>
                <a:spcAft>
                  <a:spcPct val="35000"/>
                </a:spcAft>
                <a:defRPr/>
              </a:pPr>
              <a:r>
                <a:rPr lang="en-US" sz="1100" kern="0" dirty="0">
                  <a:solidFill>
                    <a:schemeClr val="tx1"/>
                  </a:solidFill>
                </a:rPr>
                <a:t>Alleviation  of unpaid care</a:t>
              </a:r>
            </a:p>
          </p:txBody>
        </p:sp>
        <p:sp>
          <p:nvSpPr>
            <p:cNvPr id="67" name="Freeform: Shape 66">
              <a:extLst>
                <a:ext uri="{FF2B5EF4-FFF2-40B4-BE49-F238E27FC236}">
                  <a16:creationId xmlns:a16="http://schemas.microsoft.com/office/drawing/2014/main" xmlns="" id="{7C901962-90F7-46C6-8087-4A5D9131E0CA}"/>
                </a:ext>
              </a:extLst>
            </p:cNvPr>
            <p:cNvSpPr/>
            <p:nvPr/>
          </p:nvSpPr>
          <p:spPr>
            <a:xfrm>
              <a:off x="5887558" y="5852386"/>
              <a:ext cx="976727" cy="923925"/>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rgbClr val="D99694">
                <a:alpha val="43137"/>
              </a:srgbClr>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algn="ctr" defTabSz="1887463">
                <a:lnSpc>
                  <a:spcPct val="90000"/>
                </a:lnSpc>
                <a:spcBef>
                  <a:spcPct val="0"/>
                </a:spcBef>
                <a:spcAft>
                  <a:spcPct val="35000"/>
                </a:spcAft>
                <a:defRPr/>
              </a:pPr>
              <a:r>
                <a:rPr lang="en-US" sz="1100" kern="0" dirty="0">
                  <a:solidFill>
                    <a:schemeClr val="tx1"/>
                  </a:solidFill>
                </a:rPr>
                <a:t>Family planning</a:t>
              </a:r>
            </a:p>
          </p:txBody>
        </p:sp>
        <p:sp>
          <p:nvSpPr>
            <p:cNvPr id="68" name="Freeform: Shape 67">
              <a:extLst>
                <a:ext uri="{FF2B5EF4-FFF2-40B4-BE49-F238E27FC236}">
                  <a16:creationId xmlns:a16="http://schemas.microsoft.com/office/drawing/2014/main" xmlns="" id="{8E11C0F1-4C5C-4722-824F-9F0DD9F13BAE}"/>
                </a:ext>
              </a:extLst>
            </p:cNvPr>
            <p:cNvSpPr/>
            <p:nvPr/>
          </p:nvSpPr>
          <p:spPr>
            <a:xfrm>
              <a:off x="5864035" y="4955184"/>
              <a:ext cx="976727" cy="923925"/>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rgbClr val="D99694">
                <a:alpha val="43137"/>
              </a:srgbClr>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algn="ctr" defTabSz="1887463">
                <a:lnSpc>
                  <a:spcPct val="90000"/>
                </a:lnSpc>
                <a:spcBef>
                  <a:spcPct val="0"/>
                </a:spcBef>
                <a:spcAft>
                  <a:spcPct val="35000"/>
                </a:spcAft>
                <a:defRPr/>
              </a:pPr>
              <a:r>
                <a:rPr lang="en-US" sz="1100" kern="0" dirty="0">
                  <a:solidFill>
                    <a:schemeClr val="tx1"/>
                  </a:solidFill>
                </a:rPr>
                <a:t>Delayed marriage</a:t>
              </a:r>
            </a:p>
          </p:txBody>
        </p:sp>
        <p:sp>
          <p:nvSpPr>
            <p:cNvPr id="69" name="Freeform: Shape 68">
              <a:extLst>
                <a:ext uri="{FF2B5EF4-FFF2-40B4-BE49-F238E27FC236}">
                  <a16:creationId xmlns:a16="http://schemas.microsoft.com/office/drawing/2014/main" xmlns="" id="{906F740D-62C1-4864-A392-E5AA93CC493C}"/>
                </a:ext>
              </a:extLst>
            </p:cNvPr>
            <p:cNvSpPr/>
            <p:nvPr/>
          </p:nvSpPr>
          <p:spPr>
            <a:xfrm>
              <a:off x="6896560" y="5867307"/>
              <a:ext cx="976727" cy="923925"/>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rgbClr val="D99694">
                <a:alpha val="43137"/>
              </a:srgbClr>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algn="ctr" defTabSz="1887463">
                <a:lnSpc>
                  <a:spcPct val="90000"/>
                </a:lnSpc>
                <a:spcBef>
                  <a:spcPct val="0"/>
                </a:spcBef>
                <a:spcAft>
                  <a:spcPct val="35000"/>
                </a:spcAft>
                <a:defRPr/>
              </a:pPr>
              <a:r>
                <a:rPr lang="en-US" sz="1100" kern="0" dirty="0">
                  <a:solidFill>
                    <a:schemeClr val="tx1"/>
                  </a:solidFill>
                </a:rPr>
                <a:t>Education</a:t>
              </a:r>
            </a:p>
          </p:txBody>
        </p:sp>
        <p:sp>
          <p:nvSpPr>
            <p:cNvPr id="71" name="TextBox 70">
              <a:extLst>
                <a:ext uri="{FF2B5EF4-FFF2-40B4-BE49-F238E27FC236}">
                  <a16:creationId xmlns:a16="http://schemas.microsoft.com/office/drawing/2014/main" xmlns="" id="{46012148-1B27-47E0-818C-43746F913CAA}"/>
                </a:ext>
              </a:extLst>
            </p:cNvPr>
            <p:cNvSpPr txBox="1"/>
            <p:nvPr/>
          </p:nvSpPr>
          <p:spPr>
            <a:xfrm>
              <a:off x="5845739" y="4519499"/>
              <a:ext cx="2917261" cy="577435"/>
            </a:xfrm>
            <a:prstGeom prst="rect">
              <a:avLst/>
            </a:prstGeom>
            <a:noFill/>
          </p:spPr>
          <p:txBody>
            <a:bodyPr wrap="square" lIns="0" tIns="0" rIns="0" bIns="0" rtlCol="0">
              <a:noAutofit/>
            </a:bodyPr>
            <a:lstStyle/>
            <a:p>
              <a:pPr marL="213952" marR="0" lvl="0" indent="0" algn="ctr" defTabSz="914400" eaLnBrk="1" fontAlgn="auto" latinLnBrk="0" hangingPunct="1">
                <a:lnSpc>
                  <a:spcPct val="100000"/>
                </a:lnSpc>
                <a:spcBef>
                  <a:spcPts val="0"/>
                </a:spcBef>
                <a:spcAft>
                  <a:spcPts val="0"/>
                </a:spcAft>
                <a:buClrTx/>
                <a:buSzTx/>
                <a:buFontTx/>
                <a:buNone/>
                <a:tabLst/>
                <a:defRPr/>
              </a:pPr>
              <a:r>
                <a:rPr kumimoji="0" lang="en-US" sz="1292" b="1" i="0" u="none" strike="noStrike" kern="0" cap="none" spc="0" normalizeH="0" baseline="0" noProof="0" dirty="0">
                  <a:ln>
                    <a:noFill/>
                  </a:ln>
                  <a:solidFill>
                    <a:schemeClr val="bg1">
                      <a:lumMod val="50000"/>
                    </a:schemeClr>
                  </a:solidFill>
                  <a:effectLst/>
                  <a:uLnTx/>
                  <a:uFillTx/>
                </a:rPr>
                <a:t>Other drivers of women’s economic empowerment</a:t>
              </a:r>
              <a:r>
                <a:rPr lang="en-US" sz="1292" b="1" kern="0" baseline="30000" dirty="0">
                  <a:solidFill>
                    <a:schemeClr val="bg1">
                      <a:lumMod val="50000"/>
                    </a:schemeClr>
                  </a:solidFill>
                </a:rPr>
                <a:t>2</a:t>
              </a:r>
              <a:endParaRPr kumimoji="0" lang="en-US" sz="1292" b="1" i="0" u="none" strike="noStrike" kern="0" cap="none" spc="0" normalizeH="0" baseline="0" noProof="0" dirty="0">
                <a:ln>
                  <a:noFill/>
                </a:ln>
                <a:solidFill>
                  <a:schemeClr val="bg1">
                    <a:lumMod val="50000"/>
                  </a:schemeClr>
                </a:solidFill>
                <a:effectLst/>
                <a:uLnTx/>
                <a:uFillTx/>
              </a:endParaRPr>
            </a:p>
          </p:txBody>
        </p:sp>
      </p:grpSp>
      <p:sp>
        <p:nvSpPr>
          <p:cNvPr id="42" name="TextBox 41"/>
          <p:cNvSpPr txBox="1"/>
          <p:nvPr/>
        </p:nvSpPr>
        <p:spPr>
          <a:xfrm>
            <a:off x="6324600" y="1236923"/>
            <a:ext cx="2486040" cy="363257"/>
          </a:xfrm>
          <a:prstGeom prst="rect">
            <a:avLst/>
          </a:prstGeom>
          <a:noFill/>
        </p:spPr>
        <p:txBody>
          <a:bodyPr wrap="square" lIns="0" tIns="0" rIns="0" bIns="0" rtlCol="0">
            <a:noAutofit/>
          </a:bodyPr>
          <a:lstStyle/>
          <a:p>
            <a:pPr marL="213952" marR="0" lvl="0" indent="0" algn="ctr" defTabSz="914400" eaLnBrk="1" fontAlgn="auto" latinLnBrk="0" hangingPunct="1">
              <a:lnSpc>
                <a:spcPct val="100000"/>
              </a:lnSpc>
              <a:spcBef>
                <a:spcPts val="0"/>
              </a:spcBef>
              <a:spcAft>
                <a:spcPts val="0"/>
              </a:spcAft>
              <a:buClrTx/>
              <a:buSzTx/>
              <a:buFontTx/>
              <a:buNone/>
              <a:tabLst/>
              <a:defRPr/>
            </a:pPr>
            <a:r>
              <a:rPr kumimoji="0" lang="en-US" sz="1292" b="1" i="0" u="none" strike="noStrike" kern="0" cap="none" spc="0" normalizeH="0" baseline="0" noProof="0" dirty="0">
                <a:ln>
                  <a:noFill/>
                </a:ln>
                <a:solidFill>
                  <a:sysClr val="windowText" lastClr="000000"/>
                </a:solidFill>
                <a:effectLst/>
                <a:uLnTx/>
                <a:uFillTx/>
              </a:rPr>
              <a:t>…Leading to their economic empowerment</a:t>
            </a:r>
          </a:p>
        </p:txBody>
      </p:sp>
      <p:sp>
        <p:nvSpPr>
          <p:cNvPr id="28" name="Rectangular Callout 3"/>
          <p:cNvSpPr/>
          <p:nvPr/>
        </p:nvSpPr>
        <p:spPr>
          <a:xfrm>
            <a:off x="59201" y="1094601"/>
            <a:ext cx="6285701" cy="276999"/>
          </a:xfrm>
          <a:prstGeom prst="wedgeRectCallout">
            <a:avLst>
              <a:gd name="adj1" fmla="val 19105"/>
              <a:gd name="adj2" fmla="val -572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lvl="0">
              <a:defRPr/>
            </a:pPr>
            <a:r>
              <a:rPr lang="en-GB" sz="1200" i="1" kern="0" dirty="0">
                <a:solidFill>
                  <a:schemeClr val="tx1"/>
                </a:solidFill>
              </a:rPr>
              <a:t>Inspiration drawn from: World Bank, M4P, Care, ICRW, Gates, DCED, Oxfam</a:t>
            </a:r>
          </a:p>
        </p:txBody>
      </p:sp>
      <p:sp>
        <p:nvSpPr>
          <p:cNvPr id="32" name="Freeform: Shape 31"/>
          <p:cNvSpPr/>
          <p:nvPr/>
        </p:nvSpPr>
        <p:spPr>
          <a:xfrm>
            <a:off x="4474550" y="2402591"/>
            <a:ext cx="1784191" cy="1811260"/>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chemeClr val="accent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marL="0" marR="0" lvl="0" indent="0" algn="ctr" defTabSz="1887463" eaLnBrk="1" fontAlgn="auto" latinLnBrk="0" hangingPunct="1">
              <a:lnSpc>
                <a:spcPct val="90000"/>
              </a:lnSpc>
              <a:spcBef>
                <a:spcPct val="0"/>
              </a:spcBef>
              <a:spcAft>
                <a:spcPct val="35000"/>
              </a:spcAft>
              <a:buClrTx/>
              <a:buSzTx/>
              <a:buFontTx/>
              <a:buNone/>
              <a:tabLst/>
              <a:defRPr/>
            </a:pPr>
            <a:endParaRPr kumimoji="0" lang="en-US" sz="1300" b="1" i="0" u="none" strike="noStrike" kern="0" cap="none" spc="0" normalizeH="0" baseline="0" noProof="0" dirty="0">
              <a:ln>
                <a:noFill/>
              </a:ln>
              <a:solidFill>
                <a:schemeClr val="bg1"/>
              </a:solidFill>
              <a:effectLst/>
              <a:uLnTx/>
              <a:uFillTx/>
            </a:endParaRPr>
          </a:p>
          <a:p>
            <a:pPr marL="0" marR="0" lvl="0" indent="0" algn="ctr" defTabSz="1887463" eaLnBrk="1" fontAlgn="auto" latinLnBrk="0" hangingPunct="1">
              <a:lnSpc>
                <a:spcPct val="90000"/>
              </a:lnSpc>
              <a:spcBef>
                <a:spcPct val="0"/>
              </a:spcBef>
              <a:spcAft>
                <a:spcPct val="35000"/>
              </a:spcAft>
              <a:buClrTx/>
              <a:buSzTx/>
              <a:buFontTx/>
              <a:buNone/>
              <a:tabLst/>
              <a:defRPr/>
            </a:pPr>
            <a:r>
              <a:rPr kumimoji="0" lang="en-US" sz="1300" b="1" i="0" u="none" strike="noStrike" kern="0" cap="none" spc="0" normalizeH="0" baseline="0" noProof="0" dirty="0">
                <a:ln>
                  <a:noFill/>
                </a:ln>
                <a:solidFill>
                  <a:schemeClr val="bg1"/>
                </a:solidFill>
                <a:effectLst/>
                <a:uLnTx/>
                <a:uFillTx/>
              </a:rPr>
              <a:t>Financial inclusion</a:t>
            </a:r>
          </a:p>
          <a:p>
            <a:pPr marL="0" marR="0" lvl="0" indent="0" algn="ctr" defTabSz="1887463" eaLnBrk="1" fontAlgn="auto" latinLnBrk="0" hangingPunct="1">
              <a:lnSpc>
                <a:spcPct val="90000"/>
              </a:lnSpc>
              <a:spcBef>
                <a:spcPct val="0"/>
              </a:spcBef>
              <a:spcAft>
                <a:spcPct val="35000"/>
              </a:spcAft>
              <a:buClrTx/>
              <a:buSzTx/>
              <a:buFontTx/>
              <a:buNone/>
              <a:tabLst/>
              <a:defRPr/>
            </a:pPr>
            <a:r>
              <a:rPr lang="en-US" sz="1200" i="1" kern="0" dirty="0">
                <a:solidFill>
                  <a:schemeClr val="bg1"/>
                </a:solidFill>
              </a:rPr>
              <a:t>Access, usage, </a:t>
            </a:r>
          </a:p>
          <a:p>
            <a:pPr marL="0" marR="0" lvl="0" indent="0" algn="ctr" defTabSz="1887463" eaLnBrk="1" fontAlgn="auto" latinLnBrk="0" hangingPunct="1">
              <a:lnSpc>
                <a:spcPct val="90000"/>
              </a:lnSpc>
              <a:spcBef>
                <a:spcPct val="0"/>
              </a:spcBef>
              <a:spcAft>
                <a:spcPct val="35000"/>
              </a:spcAft>
              <a:buClrTx/>
              <a:buSzTx/>
              <a:buFontTx/>
              <a:buNone/>
              <a:tabLst/>
              <a:defRPr/>
            </a:pPr>
            <a:r>
              <a:rPr lang="en-US" sz="1200" i="1" kern="0" dirty="0">
                <a:solidFill>
                  <a:schemeClr val="bg1"/>
                </a:solidFill>
              </a:rPr>
              <a:t>agency</a:t>
            </a:r>
            <a:r>
              <a:rPr lang="en-US" sz="1200" i="1" kern="0" baseline="30000" dirty="0">
                <a:solidFill>
                  <a:schemeClr val="bg1"/>
                </a:solidFill>
              </a:rPr>
              <a:t>1</a:t>
            </a:r>
            <a:endParaRPr kumimoji="0" lang="en-US" sz="1200" i="1" u="none" strike="noStrike" kern="0" cap="none" spc="0" normalizeH="0" baseline="0" noProof="0" dirty="0">
              <a:ln>
                <a:noFill/>
              </a:ln>
              <a:solidFill>
                <a:schemeClr val="bg1"/>
              </a:solidFill>
              <a:effectLst/>
              <a:uLnTx/>
              <a:uFillTx/>
            </a:endParaRPr>
          </a:p>
        </p:txBody>
      </p:sp>
      <p:pic>
        <p:nvPicPr>
          <p:cNvPr id="8197" name="Picture 5" descr="https://d30y9cdsu7xlg0.cloudfront.net/png/319314-20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6979" y="2482979"/>
            <a:ext cx="946021" cy="946021"/>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6400800" y="1742502"/>
            <a:ext cx="2557727" cy="2700801"/>
            <a:chOff x="5819810" y="1747877"/>
            <a:chExt cx="2557727" cy="2700801"/>
          </a:xfrm>
        </p:grpSpPr>
        <p:sp>
          <p:nvSpPr>
            <p:cNvPr id="31" name="Arrow: Curved Left 38"/>
            <p:cNvSpPr/>
            <p:nvPr/>
          </p:nvSpPr>
          <p:spPr>
            <a:xfrm rot="16352007">
              <a:off x="6894690" y="851984"/>
              <a:ext cx="533693" cy="2325480"/>
            </a:xfrm>
            <a:prstGeom prst="curvedLeftArrow">
              <a:avLst/>
            </a:prstGeom>
            <a:solidFill>
              <a:srgbClr val="DDDD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chemeClr val="tx1"/>
                </a:solidFill>
                <a:effectLst/>
                <a:uLnTx/>
                <a:uFillTx/>
              </a:endParaRPr>
            </a:p>
          </p:txBody>
        </p:sp>
        <p:sp>
          <p:nvSpPr>
            <p:cNvPr id="33" name="Arrow: Curved Left 38"/>
            <p:cNvSpPr/>
            <p:nvPr/>
          </p:nvSpPr>
          <p:spPr>
            <a:xfrm rot="5400000">
              <a:off x="6801355" y="3019092"/>
              <a:ext cx="533693" cy="2325480"/>
            </a:xfrm>
            <a:prstGeom prst="curvedLeftArrow">
              <a:avLst/>
            </a:prstGeom>
            <a:solidFill>
              <a:srgbClr val="DDDD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chemeClr val="tx1"/>
                </a:solidFill>
                <a:effectLst/>
                <a:uLnTx/>
                <a:uFillTx/>
              </a:endParaRPr>
            </a:p>
          </p:txBody>
        </p:sp>
        <p:grpSp>
          <p:nvGrpSpPr>
            <p:cNvPr id="11" name="Group 10"/>
            <p:cNvGrpSpPr/>
            <p:nvPr/>
          </p:nvGrpSpPr>
          <p:grpSpPr>
            <a:xfrm>
              <a:off x="5819810" y="1797361"/>
              <a:ext cx="2557727" cy="2622240"/>
              <a:chOff x="1762507" y="3035727"/>
              <a:chExt cx="2134480" cy="2199021"/>
            </a:xfrm>
          </p:grpSpPr>
          <p:sp>
            <p:nvSpPr>
              <p:cNvPr id="46" name="Oval 45"/>
              <p:cNvSpPr/>
              <p:nvPr/>
            </p:nvSpPr>
            <p:spPr>
              <a:xfrm>
                <a:off x="1762507" y="3035727"/>
                <a:ext cx="2134480" cy="2199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100" kern="0" dirty="0">
                  <a:solidFill>
                    <a:sysClr val="windowText" lastClr="000000"/>
                  </a:solidFill>
                </a:endParaRPr>
              </a:p>
            </p:txBody>
          </p:sp>
          <p:sp>
            <p:nvSpPr>
              <p:cNvPr id="48" name="Freeform: Shape 47"/>
              <p:cNvSpPr/>
              <p:nvPr/>
            </p:nvSpPr>
            <p:spPr>
              <a:xfrm>
                <a:off x="1834244" y="3811936"/>
                <a:ext cx="1000126" cy="1000126"/>
              </a:xfrm>
              <a:custGeom>
                <a:avLst/>
                <a:gdLst>
                  <a:gd name="connsiteX0" fmla="*/ 1317712 w 1761066"/>
                  <a:gd name="connsiteY0" fmla="*/ 446033 h 1761066"/>
                  <a:gd name="connsiteX1" fmla="*/ 1577529 w 1761066"/>
                  <a:gd name="connsiteY1" fmla="*/ 367729 h 1761066"/>
                  <a:gd name="connsiteX2" fmla="*/ 1673132 w 1761066"/>
                  <a:gd name="connsiteY2" fmla="*/ 533319 h 1761066"/>
                  <a:gd name="connsiteX3" fmla="*/ 1475410 w 1761066"/>
                  <a:gd name="connsiteY3" fmla="*/ 719174 h 1761066"/>
                  <a:gd name="connsiteX4" fmla="*/ 1475410 w 1761066"/>
                  <a:gd name="connsiteY4" fmla="*/ 1041891 h 1761066"/>
                  <a:gd name="connsiteX5" fmla="*/ 1673132 w 1761066"/>
                  <a:gd name="connsiteY5" fmla="*/ 1227747 h 1761066"/>
                  <a:gd name="connsiteX6" fmla="*/ 1577529 w 1761066"/>
                  <a:gd name="connsiteY6" fmla="*/ 1393337 h 1761066"/>
                  <a:gd name="connsiteX7" fmla="*/ 1317712 w 1761066"/>
                  <a:gd name="connsiteY7" fmla="*/ 1315033 h 1761066"/>
                  <a:gd name="connsiteX8" fmla="*/ 1038231 w 1761066"/>
                  <a:gd name="connsiteY8" fmla="*/ 1476392 h 1761066"/>
                  <a:gd name="connsiteX9" fmla="*/ 976136 w 1761066"/>
                  <a:gd name="connsiteY9" fmla="*/ 1740551 h 1761066"/>
                  <a:gd name="connsiteX10" fmla="*/ 784930 w 1761066"/>
                  <a:gd name="connsiteY10" fmla="*/ 1740551 h 1761066"/>
                  <a:gd name="connsiteX11" fmla="*/ 722835 w 1761066"/>
                  <a:gd name="connsiteY11" fmla="*/ 1476391 h 1761066"/>
                  <a:gd name="connsiteX12" fmla="*/ 443354 w 1761066"/>
                  <a:gd name="connsiteY12" fmla="*/ 1315032 h 1761066"/>
                  <a:gd name="connsiteX13" fmla="*/ 183537 w 1761066"/>
                  <a:gd name="connsiteY13" fmla="*/ 1393337 h 1761066"/>
                  <a:gd name="connsiteX14" fmla="*/ 87934 w 1761066"/>
                  <a:gd name="connsiteY14" fmla="*/ 1227747 h 1761066"/>
                  <a:gd name="connsiteX15" fmla="*/ 285656 w 1761066"/>
                  <a:gd name="connsiteY15" fmla="*/ 1041892 h 1761066"/>
                  <a:gd name="connsiteX16" fmla="*/ 285656 w 1761066"/>
                  <a:gd name="connsiteY16" fmla="*/ 719175 h 1761066"/>
                  <a:gd name="connsiteX17" fmla="*/ 87934 w 1761066"/>
                  <a:gd name="connsiteY17" fmla="*/ 533319 h 1761066"/>
                  <a:gd name="connsiteX18" fmla="*/ 183537 w 1761066"/>
                  <a:gd name="connsiteY18" fmla="*/ 367729 h 1761066"/>
                  <a:gd name="connsiteX19" fmla="*/ 443354 w 1761066"/>
                  <a:gd name="connsiteY19" fmla="*/ 446033 h 1761066"/>
                  <a:gd name="connsiteX20" fmla="*/ 722835 w 1761066"/>
                  <a:gd name="connsiteY20" fmla="*/ 284674 h 1761066"/>
                  <a:gd name="connsiteX21" fmla="*/ 784930 w 1761066"/>
                  <a:gd name="connsiteY21" fmla="*/ 20515 h 1761066"/>
                  <a:gd name="connsiteX22" fmla="*/ 976136 w 1761066"/>
                  <a:gd name="connsiteY22" fmla="*/ 20515 h 1761066"/>
                  <a:gd name="connsiteX23" fmla="*/ 1038231 w 1761066"/>
                  <a:gd name="connsiteY23" fmla="*/ 284675 h 1761066"/>
                  <a:gd name="connsiteX24" fmla="*/ 1317712 w 1761066"/>
                  <a:gd name="connsiteY24" fmla="*/ 446034 h 1761066"/>
                  <a:gd name="connsiteX25" fmla="*/ 1317712 w 1761066"/>
                  <a:gd name="connsiteY25" fmla="*/ 446033 h 176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61066" h="1761066">
                    <a:moveTo>
                      <a:pt x="1317712" y="446033"/>
                    </a:moveTo>
                    <a:lnTo>
                      <a:pt x="1577529" y="367729"/>
                    </a:lnTo>
                    <a:lnTo>
                      <a:pt x="1673132" y="533319"/>
                    </a:lnTo>
                    <a:lnTo>
                      <a:pt x="1475410" y="719174"/>
                    </a:lnTo>
                    <a:cubicBezTo>
                      <a:pt x="1504071" y="824837"/>
                      <a:pt x="1504071" y="936228"/>
                      <a:pt x="1475410" y="1041891"/>
                    </a:cubicBezTo>
                    <a:lnTo>
                      <a:pt x="1673132" y="1227747"/>
                    </a:lnTo>
                    <a:lnTo>
                      <a:pt x="1577529" y="1393337"/>
                    </a:lnTo>
                    <a:lnTo>
                      <a:pt x="1317712" y="1315033"/>
                    </a:lnTo>
                    <a:cubicBezTo>
                      <a:pt x="1240535" y="1392686"/>
                      <a:pt x="1144068" y="1448381"/>
                      <a:pt x="1038231" y="1476392"/>
                    </a:cubicBezTo>
                    <a:lnTo>
                      <a:pt x="976136" y="1740551"/>
                    </a:lnTo>
                    <a:lnTo>
                      <a:pt x="784930" y="1740551"/>
                    </a:lnTo>
                    <a:lnTo>
                      <a:pt x="722835" y="1476391"/>
                    </a:lnTo>
                    <a:cubicBezTo>
                      <a:pt x="616997" y="1448380"/>
                      <a:pt x="520530" y="1392685"/>
                      <a:pt x="443354" y="1315032"/>
                    </a:cubicBezTo>
                    <a:lnTo>
                      <a:pt x="183537" y="1393337"/>
                    </a:lnTo>
                    <a:lnTo>
                      <a:pt x="87934" y="1227747"/>
                    </a:lnTo>
                    <a:lnTo>
                      <a:pt x="285656" y="1041892"/>
                    </a:lnTo>
                    <a:cubicBezTo>
                      <a:pt x="256995" y="936229"/>
                      <a:pt x="256995" y="824838"/>
                      <a:pt x="285656" y="719175"/>
                    </a:cubicBezTo>
                    <a:lnTo>
                      <a:pt x="87934" y="533319"/>
                    </a:lnTo>
                    <a:lnTo>
                      <a:pt x="183537" y="367729"/>
                    </a:lnTo>
                    <a:lnTo>
                      <a:pt x="443354" y="446033"/>
                    </a:lnTo>
                    <a:cubicBezTo>
                      <a:pt x="520531" y="368380"/>
                      <a:pt x="616998" y="312685"/>
                      <a:pt x="722835" y="284674"/>
                    </a:cubicBezTo>
                    <a:lnTo>
                      <a:pt x="784930" y="20515"/>
                    </a:lnTo>
                    <a:lnTo>
                      <a:pt x="976136" y="20515"/>
                    </a:lnTo>
                    <a:lnTo>
                      <a:pt x="1038231" y="284675"/>
                    </a:lnTo>
                    <a:cubicBezTo>
                      <a:pt x="1144069" y="312686"/>
                      <a:pt x="1240536" y="368381"/>
                      <a:pt x="1317712" y="446034"/>
                    </a:cubicBezTo>
                    <a:lnTo>
                      <a:pt x="1317712" y="446033"/>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472683" rIns="108000" bIns="472683" numCol="1" spcCol="1270" anchor="ctr" anchorCtr="0">
                <a:noAutofit/>
              </a:bodyPr>
              <a:lstStyle/>
              <a:p>
                <a:pPr algn="ctr" defTabSz="2133653">
                  <a:lnSpc>
                    <a:spcPct val="90000"/>
                  </a:lnSpc>
                  <a:spcBef>
                    <a:spcPct val="0"/>
                  </a:spcBef>
                  <a:spcAft>
                    <a:spcPct val="35000"/>
                  </a:spcAft>
                  <a:defRPr/>
                </a:pPr>
                <a:r>
                  <a:rPr lang="en-US" sz="1100" kern="0" dirty="0">
                    <a:solidFill>
                      <a:prstClr val="white"/>
                    </a:solidFill>
                  </a:rPr>
                  <a:t>Agency</a:t>
                </a:r>
              </a:p>
            </p:txBody>
          </p:sp>
          <p:sp>
            <p:nvSpPr>
              <p:cNvPr id="49" name="Freeform: Shape 48"/>
              <p:cNvSpPr/>
              <p:nvPr/>
            </p:nvSpPr>
            <p:spPr>
              <a:xfrm>
                <a:off x="2762258" y="3974977"/>
                <a:ext cx="1008000" cy="1029598"/>
              </a:xfrm>
              <a:custGeom>
                <a:avLst/>
                <a:gdLst>
                  <a:gd name="connsiteX0" fmla="*/ 1317712 w 1761066"/>
                  <a:gd name="connsiteY0" fmla="*/ 446033 h 1761066"/>
                  <a:gd name="connsiteX1" fmla="*/ 1577529 w 1761066"/>
                  <a:gd name="connsiteY1" fmla="*/ 367729 h 1761066"/>
                  <a:gd name="connsiteX2" fmla="*/ 1673132 w 1761066"/>
                  <a:gd name="connsiteY2" fmla="*/ 533319 h 1761066"/>
                  <a:gd name="connsiteX3" fmla="*/ 1475410 w 1761066"/>
                  <a:gd name="connsiteY3" fmla="*/ 719174 h 1761066"/>
                  <a:gd name="connsiteX4" fmla="*/ 1475410 w 1761066"/>
                  <a:gd name="connsiteY4" fmla="*/ 1041891 h 1761066"/>
                  <a:gd name="connsiteX5" fmla="*/ 1673132 w 1761066"/>
                  <a:gd name="connsiteY5" fmla="*/ 1227747 h 1761066"/>
                  <a:gd name="connsiteX6" fmla="*/ 1577529 w 1761066"/>
                  <a:gd name="connsiteY6" fmla="*/ 1393337 h 1761066"/>
                  <a:gd name="connsiteX7" fmla="*/ 1317712 w 1761066"/>
                  <a:gd name="connsiteY7" fmla="*/ 1315033 h 1761066"/>
                  <a:gd name="connsiteX8" fmla="*/ 1038231 w 1761066"/>
                  <a:gd name="connsiteY8" fmla="*/ 1476392 h 1761066"/>
                  <a:gd name="connsiteX9" fmla="*/ 976136 w 1761066"/>
                  <a:gd name="connsiteY9" fmla="*/ 1740551 h 1761066"/>
                  <a:gd name="connsiteX10" fmla="*/ 784930 w 1761066"/>
                  <a:gd name="connsiteY10" fmla="*/ 1740551 h 1761066"/>
                  <a:gd name="connsiteX11" fmla="*/ 722835 w 1761066"/>
                  <a:gd name="connsiteY11" fmla="*/ 1476391 h 1761066"/>
                  <a:gd name="connsiteX12" fmla="*/ 443354 w 1761066"/>
                  <a:gd name="connsiteY12" fmla="*/ 1315032 h 1761066"/>
                  <a:gd name="connsiteX13" fmla="*/ 183537 w 1761066"/>
                  <a:gd name="connsiteY13" fmla="*/ 1393337 h 1761066"/>
                  <a:gd name="connsiteX14" fmla="*/ 87934 w 1761066"/>
                  <a:gd name="connsiteY14" fmla="*/ 1227747 h 1761066"/>
                  <a:gd name="connsiteX15" fmla="*/ 285656 w 1761066"/>
                  <a:gd name="connsiteY15" fmla="*/ 1041892 h 1761066"/>
                  <a:gd name="connsiteX16" fmla="*/ 285656 w 1761066"/>
                  <a:gd name="connsiteY16" fmla="*/ 719175 h 1761066"/>
                  <a:gd name="connsiteX17" fmla="*/ 87934 w 1761066"/>
                  <a:gd name="connsiteY17" fmla="*/ 533319 h 1761066"/>
                  <a:gd name="connsiteX18" fmla="*/ 183537 w 1761066"/>
                  <a:gd name="connsiteY18" fmla="*/ 367729 h 1761066"/>
                  <a:gd name="connsiteX19" fmla="*/ 443354 w 1761066"/>
                  <a:gd name="connsiteY19" fmla="*/ 446033 h 1761066"/>
                  <a:gd name="connsiteX20" fmla="*/ 722835 w 1761066"/>
                  <a:gd name="connsiteY20" fmla="*/ 284674 h 1761066"/>
                  <a:gd name="connsiteX21" fmla="*/ 784930 w 1761066"/>
                  <a:gd name="connsiteY21" fmla="*/ 20515 h 1761066"/>
                  <a:gd name="connsiteX22" fmla="*/ 976136 w 1761066"/>
                  <a:gd name="connsiteY22" fmla="*/ 20515 h 1761066"/>
                  <a:gd name="connsiteX23" fmla="*/ 1038231 w 1761066"/>
                  <a:gd name="connsiteY23" fmla="*/ 284675 h 1761066"/>
                  <a:gd name="connsiteX24" fmla="*/ 1317712 w 1761066"/>
                  <a:gd name="connsiteY24" fmla="*/ 446034 h 1761066"/>
                  <a:gd name="connsiteX25" fmla="*/ 1317712 w 1761066"/>
                  <a:gd name="connsiteY25" fmla="*/ 446033 h 176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61066" h="1761066">
                    <a:moveTo>
                      <a:pt x="1317712" y="446033"/>
                    </a:moveTo>
                    <a:lnTo>
                      <a:pt x="1577529" y="367729"/>
                    </a:lnTo>
                    <a:lnTo>
                      <a:pt x="1673132" y="533319"/>
                    </a:lnTo>
                    <a:lnTo>
                      <a:pt x="1475410" y="719174"/>
                    </a:lnTo>
                    <a:cubicBezTo>
                      <a:pt x="1504071" y="824837"/>
                      <a:pt x="1504071" y="936228"/>
                      <a:pt x="1475410" y="1041891"/>
                    </a:cubicBezTo>
                    <a:lnTo>
                      <a:pt x="1673132" y="1227747"/>
                    </a:lnTo>
                    <a:lnTo>
                      <a:pt x="1577529" y="1393337"/>
                    </a:lnTo>
                    <a:lnTo>
                      <a:pt x="1317712" y="1315033"/>
                    </a:lnTo>
                    <a:cubicBezTo>
                      <a:pt x="1240535" y="1392686"/>
                      <a:pt x="1144068" y="1448381"/>
                      <a:pt x="1038231" y="1476392"/>
                    </a:cubicBezTo>
                    <a:lnTo>
                      <a:pt x="976136" y="1740551"/>
                    </a:lnTo>
                    <a:lnTo>
                      <a:pt x="784930" y="1740551"/>
                    </a:lnTo>
                    <a:lnTo>
                      <a:pt x="722835" y="1476391"/>
                    </a:lnTo>
                    <a:cubicBezTo>
                      <a:pt x="616997" y="1448380"/>
                      <a:pt x="520530" y="1392685"/>
                      <a:pt x="443354" y="1315032"/>
                    </a:cubicBezTo>
                    <a:lnTo>
                      <a:pt x="183537" y="1393337"/>
                    </a:lnTo>
                    <a:lnTo>
                      <a:pt x="87934" y="1227747"/>
                    </a:lnTo>
                    <a:lnTo>
                      <a:pt x="285656" y="1041892"/>
                    </a:lnTo>
                    <a:cubicBezTo>
                      <a:pt x="256995" y="936229"/>
                      <a:pt x="256995" y="824838"/>
                      <a:pt x="285656" y="719175"/>
                    </a:cubicBezTo>
                    <a:lnTo>
                      <a:pt x="87934" y="533319"/>
                    </a:lnTo>
                    <a:lnTo>
                      <a:pt x="183537" y="367729"/>
                    </a:lnTo>
                    <a:lnTo>
                      <a:pt x="443354" y="446033"/>
                    </a:lnTo>
                    <a:cubicBezTo>
                      <a:pt x="520531" y="368380"/>
                      <a:pt x="616998" y="312685"/>
                      <a:pt x="722835" y="284674"/>
                    </a:cubicBezTo>
                    <a:lnTo>
                      <a:pt x="784930" y="20515"/>
                    </a:lnTo>
                    <a:lnTo>
                      <a:pt x="976136" y="20515"/>
                    </a:lnTo>
                    <a:lnTo>
                      <a:pt x="1038231" y="284675"/>
                    </a:lnTo>
                    <a:cubicBezTo>
                      <a:pt x="1144069" y="312686"/>
                      <a:pt x="1240536" y="368381"/>
                      <a:pt x="1317712" y="446034"/>
                    </a:cubicBezTo>
                    <a:lnTo>
                      <a:pt x="1317712" y="446033"/>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472683" rIns="108000" bIns="472683" numCol="1" spcCol="1270" anchor="ctr" anchorCtr="0">
                <a:noAutofit/>
              </a:bodyPr>
              <a:lstStyle/>
              <a:p>
                <a:pPr algn="ctr" defTabSz="2133653">
                  <a:lnSpc>
                    <a:spcPct val="90000"/>
                  </a:lnSpc>
                  <a:spcBef>
                    <a:spcPct val="0"/>
                  </a:spcBef>
                  <a:spcAft>
                    <a:spcPct val="35000"/>
                  </a:spcAft>
                  <a:defRPr/>
                </a:pPr>
                <a:r>
                  <a:rPr lang="en-US" sz="1100" kern="0" dirty="0">
                    <a:solidFill>
                      <a:prstClr val="white"/>
                    </a:solidFill>
                  </a:rPr>
                  <a:t>Resources</a:t>
                </a:r>
              </a:p>
            </p:txBody>
          </p:sp>
          <p:sp>
            <p:nvSpPr>
              <p:cNvPr id="50" name="Freeform: Shape 49"/>
              <p:cNvSpPr/>
              <p:nvPr/>
            </p:nvSpPr>
            <p:spPr>
              <a:xfrm>
                <a:off x="2370213" y="3063878"/>
                <a:ext cx="1108564" cy="1054758"/>
              </a:xfrm>
              <a:custGeom>
                <a:avLst/>
                <a:gdLst>
                  <a:gd name="connsiteX0" fmla="*/ 1317712 w 1761066"/>
                  <a:gd name="connsiteY0" fmla="*/ 446033 h 1761066"/>
                  <a:gd name="connsiteX1" fmla="*/ 1577529 w 1761066"/>
                  <a:gd name="connsiteY1" fmla="*/ 367729 h 1761066"/>
                  <a:gd name="connsiteX2" fmla="*/ 1673132 w 1761066"/>
                  <a:gd name="connsiteY2" fmla="*/ 533319 h 1761066"/>
                  <a:gd name="connsiteX3" fmla="*/ 1475410 w 1761066"/>
                  <a:gd name="connsiteY3" fmla="*/ 719174 h 1761066"/>
                  <a:gd name="connsiteX4" fmla="*/ 1475410 w 1761066"/>
                  <a:gd name="connsiteY4" fmla="*/ 1041891 h 1761066"/>
                  <a:gd name="connsiteX5" fmla="*/ 1673132 w 1761066"/>
                  <a:gd name="connsiteY5" fmla="*/ 1227747 h 1761066"/>
                  <a:gd name="connsiteX6" fmla="*/ 1577529 w 1761066"/>
                  <a:gd name="connsiteY6" fmla="*/ 1393337 h 1761066"/>
                  <a:gd name="connsiteX7" fmla="*/ 1317712 w 1761066"/>
                  <a:gd name="connsiteY7" fmla="*/ 1315033 h 1761066"/>
                  <a:gd name="connsiteX8" fmla="*/ 1038231 w 1761066"/>
                  <a:gd name="connsiteY8" fmla="*/ 1476392 h 1761066"/>
                  <a:gd name="connsiteX9" fmla="*/ 976136 w 1761066"/>
                  <a:gd name="connsiteY9" fmla="*/ 1740551 h 1761066"/>
                  <a:gd name="connsiteX10" fmla="*/ 784930 w 1761066"/>
                  <a:gd name="connsiteY10" fmla="*/ 1740551 h 1761066"/>
                  <a:gd name="connsiteX11" fmla="*/ 722835 w 1761066"/>
                  <a:gd name="connsiteY11" fmla="*/ 1476391 h 1761066"/>
                  <a:gd name="connsiteX12" fmla="*/ 443354 w 1761066"/>
                  <a:gd name="connsiteY12" fmla="*/ 1315032 h 1761066"/>
                  <a:gd name="connsiteX13" fmla="*/ 183537 w 1761066"/>
                  <a:gd name="connsiteY13" fmla="*/ 1393337 h 1761066"/>
                  <a:gd name="connsiteX14" fmla="*/ 87934 w 1761066"/>
                  <a:gd name="connsiteY14" fmla="*/ 1227747 h 1761066"/>
                  <a:gd name="connsiteX15" fmla="*/ 285656 w 1761066"/>
                  <a:gd name="connsiteY15" fmla="*/ 1041892 h 1761066"/>
                  <a:gd name="connsiteX16" fmla="*/ 285656 w 1761066"/>
                  <a:gd name="connsiteY16" fmla="*/ 719175 h 1761066"/>
                  <a:gd name="connsiteX17" fmla="*/ 87934 w 1761066"/>
                  <a:gd name="connsiteY17" fmla="*/ 533319 h 1761066"/>
                  <a:gd name="connsiteX18" fmla="*/ 183537 w 1761066"/>
                  <a:gd name="connsiteY18" fmla="*/ 367729 h 1761066"/>
                  <a:gd name="connsiteX19" fmla="*/ 443354 w 1761066"/>
                  <a:gd name="connsiteY19" fmla="*/ 446033 h 1761066"/>
                  <a:gd name="connsiteX20" fmla="*/ 722835 w 1761066"/>
                  <a:gd name="connsiteY20" fmla="*/ 284674 h 1761066"/>
                  <a:gd name="connsiteX21" fmla="*/ 784930 w 1761066"/>
                  <a:gd name="connsiteY21" fmla="*/ 20515 h 1761066"/>
                  <a:gd name="connsiteX22" fmla="*/ 976136 w 1761066"/>
                  <a:gd name="connsiteY22" fmla="*/ 20515 h 1761066"/>
                  <a:gd name="connsiteX23" fmla="*/ 1038231 w 1761066"/>
                  <a:gd name="connsiteY23" fmla="*/ 284675 h 1761066"/>
                  <a:gd name="connsiteX24" fmla="*/ 1317712 w 1761066"/>
                  <a:gd name="connsiteY24" fmla="*/ 446034 h 1761066"/>
                  <a:gd name="connsiteX25" fmla="*/ 1317712 w 1761066"/>
                  <a:gd name="connsiteY25" fmla="*/ 446033 h 176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61066" h="1761066">
                    <a:moveTo>
                      <a:pt x="1317712" y="446033"/>
                    </a:moveTo>
                    <a:lnTo>
                      <a:pt x="1577529" y="367729"/>
                    </a:lnTo>
                    <a:lnTo>
                      <a:pt x="1673132" y="533319"/>
                    </a:lnTo>
                    <a:lnTo>
                      <a:pt x="1475410" y="719174"/>
                    </a:lnTo>
                    <a:cubicBezTo>
                      <a:pt x="1504071" y="824837"/>
                      <a:pt x="1504071" y="936228"/>
                      <a:pt x="1475410" y="1041891"/>
                    </a:cubicBezTo>
                    <a:lnTo>
                      <a:pt x="1673132" y="1227747"/>
                    </a:lnTo>
                    <a:lnTo>
                      <a:pt x="1577529" y="1393337"/>
                    </a:lnTo>
                    <a:lnTo>
                      <a:pt x="1317712" y="1315033"/>
                    </a:lnTo>
                    <a:cubicBezTo>
                      <a:pt x="1240535" y="1392686"/>
                      <a:pt x="1144068" y="1448381"/>
                      <a:pt x="1038231" y="1476392"/>
                    </a:cubicBezTo>
                    <a:lnTo>
                      <a:pt x="976136" y="1740551"/>
                    </a:lnTo>
                    <a:lnTo>
                      <a:pt x="784930" y="1740551"/>
                    </a:lnTo>
                    <a:lnTo>
                      <a:pt x="722835" y="1476391"/>
                    </a:lnTo>
                    <a:cubicBezTo>
                      <a:pt x="616997" y="1448380"/>
                      <a:pt x="520530" y="1392685"/>
                      <a:pt x="443354" y="1315032"/>
                    </a:cubicBezTo>
                    <a:lnTo>
                      <a:pt x="183537" y="1393337"/>
                    </a:lnTo>
                    <a:lnTo>
                      <a:pt x="87934" y="1227747"/>
                    </a:lnTo>
                    <a:lnTo>
                      <a:pt x="285656" y="1041892"/>
                    </a:lnTo>
                    <a:cubicBezTo>
                      <a:pt x="256995" y="936229"/>
                      <a:pt x="256995" y="824838"/>
                      <a:pt x="285656" y="719175"/>
                    </a:cubicBezTo>
                    <a:lnTo>
                      <a:pt x="87934" y="533319"/>
                    </a:lnTo>
                    <a:lnTo>
                      <a:pt x="183537" y="367729"/>
                    </a:lnTo>
                    <a:lnTo>
                      <a:pt x="443354" y="446033"/>
                    </a:lnTo>
                    <a:cubicBezTo>
                      <a:pt x="520531" y="368380"/>
                      <a:pt x="616998" y="312685"/>
                      <a:pt x="722835" y="284674"/>
                    </a:cubicBezTo>
                    <a:lnTo>
                      <a:pt x="784930" y="20515"/>
                    </a:lnTo>
                    <a:lnTo>
                      <a:pt x="976136" y="20515"/>
                    </a:lnTo>
                    <a:lnTo>
                      <a:pt x="1038231" y="284675"/>
                    </a:lnTo>
                    <a:cubicBezTo>
                      <a:pt x="1144069" y="312686"/>
                      <a:pt x="1240536" y="368381"/>
                      <a:pt x="1317712" y="446034"/>
                    </a:cubicBezTo>
                    <a:lnTo>
                      <a:pt x="1317712" y="446033"/>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472683" rIns="108000" bIns="472683" numCol="1" spcCol="1270" anchor="ctr" anchorCtr="0">
                <a:noAutofit/>
              </a:bodyPr>
              <a:lstStyle/>
              <a:p>
                <a:pPr algn="ctr" defTabSz="2133653">
                  <a:lnSpc>
                    <a:spcPct val="90000"/>
                  </a:lnSpc>
                  <a:spcBef>
                    <a:spcPct val="0"/>
                  </a:spcBef>
                  <a:spcAft>
                    <a:spcPct val="35000"/>
                  </a:spcAft>
                  <a:defRPr/>
                </a:pPr>
                <a:r>
                  <a:rPr lang="en-US" sz="1100" kern="0" dirty="0">
                    <a:solidFill>
                      <a:prstClr val="white"/>
                    </a:solidFill>
                  </a:rPr>
                  <a:t>Economic </a:t>
                </a:r>
              </a:p>
              <a:p>
                <a:pPr algn="ctr" defTabSz="2133653">
                  <a:lnSpc>
                    <a:spcPct val="90000"/>
                  </a:lnSpc>
                  <a:spcBef>
                    <a:spcPct val="0"/>
                  </a:spcBef>
                  <a:spcAft>
                    <a:spcPct val="35000"/>
                  </a:spcAft>
                  <a:defRPr/>
                </a:pPr>
                <a:r>
                  <a:rPr lang="en-US" sz="1100" kern="0" dirty="0">
                    <a:solidFill>
                      <a:prstClr val="white"/>
                    </a:solidFill>
                  </a:rPr>
                  <a:t>opportunities</a:t>
                </a:r>
              </a:p>
            </p:txBody>
          </p:sp>
        </p:grpSp>
      </p:grpSp>
      <p:grpSp>
        <p:nvGrpSpPr>
          <p:cNvPr id="6" name="Group 5"/>
          <p:cNvGrpSpPr/>
          <p:nvPr/>
        </p:nvGrpSpPr>
        <p:grpSpPr>
          <a:xfrm>
            <a:off x="223955" y="1922555"/>
            <a:ext cx="3281245" cy="515845"/>
            <a:chOff x="223955" y="1524000"/>
            <a:chExt cx="3281245" cy="515845"/>
          </a:xfrm>
        </p:grpSpPr>
        <p:sp>
          <p:nvSpPr>
            <p:cNvPr id="47" name="TextBox 46"/>
            <p:cNvSpPr txBox="1"/>
            <p:nvPr/>
          </p:nvSpPr>
          <p:spPr>
            <a:xfrm>
              <a:off x="233403" y="1603628"/>
              <a:ext cx="3271797" cy="436217"/>
            </a:xfrm>
            <a:prstGeom prst="rect">
              <a:avLst/>
            </a:prstGeom>
            <a:noFill/>
          </p:spPr>
          <p:txBody>
            <a:bodyPr wrap="square" lIns="0" tIns="0" rIns="0" bIns="0" rtlCol="0">
              <a:noAutofit/>
            </a:bodyPr>
            <a:lstStyle/>
            <a:p>
              <a:pPr marL="213952" marR="0" lvl="0" indent="0" algn="ctr" defTabSz="914400" eaLnBrk="1" fontAlgn="auto" latinLnBrk="0" hangingPunct="1">
                <a:lnSpc>
                  <a:spcPct val="100000"/>
                </a:lnSpc>
                <a:spcBef>
                  <a:spcPts val="0"/>
                </a:spcBef>
                <a:spcAft>
                  <a:spcPts val="0"/>
                </a:spcAft>
                <a:buClrTx/>
                <a:buSzTx/>
                <a:buFontTx/>
                <a:buNone/>
                <a:tabLst/>
                <a:defRPr/>
              </a:pPr>
              <a:r>
                <a:rPr lang="en-US" sz="1292" b="1" kern="0" dirty="0">
                  <a:solidFill>
                    <a:sysClr val="windowText" lastClr="000000"/>
                  </a:solidFill>
                </a:rPr>
                <a:t>Interventions across three spheres</a:t>
              </a:r>
              <a:r>
                <a:rPr kumimoji="0" lang="en-US" sz="1292" b="1" i="0" u="none" strike="noStrike" kern="0" cap="none" spc="0" normalizeH="0" baseline="0" noProof="0" dirty="0">
                  <a:ln>
                    <a:noFill/>
                  </a:ln>
                  <a:solidFill>
                    <a:sysClr val="windowText" lastClr="000000"/>
                  </a:solidFill>
                  <a:effectLst/>
                  <a:uLnTx/>
                  <a:uFillTx/>
                </a:rPr>
                <a:t> of influence, adapted to </a:t>
              </a:r>
              <a:r>
                <a:rPr lang="en-US" sz="1292" b="1" kern="0" dirty="0">
                  <a:solidFill>
                    <a:sysClr val="windowText" lastClr="000000"/>
                  </a:solidFill>
                </a:rPr>
                <a:t>women’s lifecycle needs and economic roles</a:t>
              </a:r>
              <a:r>
                <a:rPr kumimoji="0" lang="en-US" sz="1292" b="1" i="0" u="none" strike="noStrike" kern="0" cap="none" spc="0" normalizeH="0" baseline="0" noProof="0" dirty="0">
                  <a:ln>
                    <a:noFill/>
                  </a:ln>
                  <a:solidFill>
                    <a:sysClr val="windowText" lastClr="000000"/>
                  </a:solidFill>
                  <a:effectLst/>
                  <a:uLnTx/>
                  <a:uFillTx/>
                </a:rPr>
                <a:t>….</a:t>
              </a:r>
            </a:p>
          </p:txBody>
        </p:sp>
        <p:sp>
          <p:nvSpPr>
            <p:cNvPr id="54" name="Oval 53"/>
            <p:cNvSpPr/>
            <p:nvPr/>
          </p:nvSpPr>
          <p:spPr>
            <a:xfrm>
              <a:off x="223955" y="1524000"/>
              <a:ext cx="294587" cy="29458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grpSp>
      <p:grpSp>
        <p:nvGrpSpPr>
          <p:cNvPr id="10" name="Group 9"/>
          <p:cNvGrpSpPr/>
          <p:nvPr/>
        </p:nvGrpSpPr>
        <p:grpSpPr>
          <a:xfrm>
            <a:off x="3821152" y="1752600"/>
            <a:ext cx="2579648" cy="426633"/>
            <a:chOff x="3027794" y="1752600"/>
            <a:chExt cx="2579648" cy="426633"/>
          </a:xfrm>
        </p:grpSpPr>
        <p:sp>
          <p:nvSpPr>
            <p:cNvPr id="41" name="TextBox 40"/>
            <p:cNvSpPr txBox="1"/>
            <p:nvPr/>
          </p:nvSpPr>
          <p:spPr>
            <a:xfrm>
              <a:off x="3119227" y="1752600"/>
              <a:ext cx="2488215" cy="426633"/>
            </a:xfrm>
            <a:prstGeom prst="rect">
              <a:avLst/>
            </a:prstGeom>
            <a:noFill/>
          </p:spPr>
          <p:txBody>
            <a:bodyPr wrap="square" lIns="0" tIns="0" rIns="0" bIns="0" rtlCol="0">
              <a:noAutofit/>
            </a:bodyPr>
            <a:lstStyle/>
            <a:p>
              <a:pPr marL="213952" marR="0" lvl="0" indent="0" algn="ctr" defTabSz="914400" eaLnBrk="1" fontAlgn="auto" latinLnBrk="0" hangingPunct="1">
                <a:lnSpc>
                  <a:spcPct val="100000"/>
                </a:lnSpc>
                <a:spcBef>
                  <a:spcPts val="0"/>
                </a:spcBef>
                <a:spcAft>
                  <a:spcPts val="0"/>
                </a:spcAft>
                <a:buClrTx/>
                <a:buSzTx/>
                <a:buFontTx/>
                <a:buNone/>
                <a:tabLst/>
                <a:defRPr/>
              </a:pPr>
              <a:r>
                <a:rPr kumimoji="0" lang="en-US" sz="1292" b="1" i="0" u="none" strike="noStrike" kern="0" cap="none" spc="0" normalizeH="0" baseline="0" noProof="0" dirty="0">
                  <a:ln>
                    <a:noFill/>
                  </a:ln>
                  <a:solidFill>
                    <a:sysClr val="windowText" lastClr="000000"/>
                  </a:solidFill>
                  <a:effectLst/>
                  <a:uLnTx/>
                  <a:uFillTx/>
                </a:rPr>
                <a:t>…Drive financial inclusion for individual women and girls….</a:t>
              </a:r>
            </a:p>
          </p:txBody>
        </p:sp>
        <p:sp>
          <p:nvSpPr>
            <p:cNvPr id="55" name="Oval 54"/>
            <p:cNvSpPr/>
            <p:nvPr/>
          </p:nvSpPr>
          <p:spPr>
            <a:xfrm>
              <a:off x="3027794" y="1818623"/>
              <a:ext cx="294587" cy="29458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grpSp>
      <p:sp>
        <p:nvSpPr>
          <p:cNvPr id="56" name="Oval 55"/>
          <p:cNvSpPr/>
          <p:nvPr/>
        </p:nvSpPr>
        <p:spPr>
          <a:xfrm>
            <a:off x="6278880" y="1188720"/>
            <a:ext cx="294587" cy="29458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5" name="Title 4"/>
          <p:cNvSpPr>
            <a:spLocks noGrp="1"/>
          </p:cNvSpPr>
          <p:nvPr>
            <p:ph type="title"/>
          </p:nvPr>
        </p:nvSpPr>
        <p:spPr>
          <a:xfrm>
            <a:off x="315534" y="255760"/>
            <a:ext cx="8219257" cy="609600"/>
          </a:xfrm>
        </p:spPr>
        <p:txBody>
          <a:bodyPr/>
          <a:lstStyle/>
          <a:p>
            <a:r>
              <a:rPr lang="en-GB" dirty="0">
                <a:solidFill>
                  <a:schemeClr val="tx1"/>
                </a:solidFill>
              </a:rPr>
              <a:t>The </a:t>
            </a:r>
            <a:r>
              <a:rPr lang="en-GB" dirty="0" err="1">
                <a:solidFill>
                  <a:schemeClr val="tx1"/>
                </a:solidFill>
              </a:rPr>
              <a:t>PoWER</a:t>
            </a:r>
            <a:r>
              <a:rPr lang="en-GB" dirty="0">
                <a:solidFill>
                  <a:schemeClr val="tx1"/>
                </a:solidFill>
              </a:rPr>
              <a:t> Empowerment Framework</a:t>
            </a:r>
            <a:endParaRPr lang="en-US" dirty="0">
              <a:solidFill>
                <a:schemeClr val="tx1"/>
              </a:solidFill>
            </a:endParaRPr>
          </a:p>
        </p:txBody>
      </p:sp>
      <p:sp>
        <p:nvSpPr>
          <p:cNvPr id="9" name="Slide Number Placeholder 8"/>
          <p:cNvSpPr>
            <a:spLocks noGrp="1"/>
          </p:cNvSpPr>
          <p:nvPr>
            <p:ph type="sldNum" sz="quarter" idx="4294967295"/>
          </p:nvPr>
        </p:nvSpPr>
        <p:spPr>
          <a:xfrm>
            <a:off x="7860224" y="7390935"/>
            <a:ext cx="2057400" cy="365125"/>
          </a:xfrm>
          <a:prstGeom prst="rect">
            <a:avLst/>
          </a:prstGeom>
        </p:spPr>
        <p:txBody>
          <a:bodyPr/>
          <a:lstStyle/>
          <a:p>
            <a:fld id="{2595D1C1-32D3-4A09-A3BB-830F14256841}" type="slidenum">
              <a:rPr lang="en-US" smtClean="0">
                <a:solidFill>
                  <a:prstClr val="black">
                    <a:tint val="75000"/>
                  </a:prstClr>
                </a:solidFill>
              </a:rPr>
              <a:pPr/>
              <a:t>5</a:t>
            </a:fld>
            <a:endParaRPr lang="en-US" dirty="0">
              <a:solidFill>
                <a:prstClr val="black">
                  <a:tint val="75000"/>
                </a:prstClr>
              </a:solidFill>
            </a:endParaRPr>
          </a:p>
        </p:txBody>
      </p:sp>
      <p:grpSp>
        <p:nvGrpSpPr>
          <p:cNvPr id="19" name="Group 18">
            <a:extLst>
              <a:ext uri="{FF2B5EF4-FFF2-40B4-BE49-F238E27FC236}">
                <a16:creationId xmlns:a16="http://schemas.microsoft.com/office/drawing/2014/main" xmlns="" id="{89F81D70-4591-4526-B48E-E7FBE4A2A89E}"/>
              </a:ext>
            </a:extLst>
          </p:cNvPr>
          <p:cNvGrpSpPr/>
          <p:nvPr/>
        </p:nvGrpSpPr>
        <p:grpSpPr>
          <a:xfrm>
            <a:off x="685800" y="2692948"/>
            <a:ext cx="3886200" cy="3696563"/>
            <a:chOff x="685800" y="2692948"/>
            <a:chExt cx="3886200" cy="3696563"/>
          </a:xfrm>
        </p:grpSpPr>
        <p:sp>
          <p:nvSpPr>
            <p:cNvPr id="59" name="Oval 58">
              <a:extLst>
                <a:ext uri="{FF2B5EF4-FFF2-40B4-BE49-F238E27FC236}">
                  <a16:creationId xmlns:a16="http://schemas.microsoft.com/office/drawing/2014/main" xmlns="" id="{362C711B-3B97-4888-AF46-1B7ECC7B30F7}"/>
                </a:ext>
              </a:extLst>
            </p:cNvPr>
            <p:cNvSpPr/>
            <p:nvPr/>
          </p:nvSpPr>
          <p:spPr>
            <a:xfrm>
              <a:off x="685800" y="2692948"/>
              <a:ext cx="3886200" cy="369656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kern="0" dirty="0">
                <a:solidFill>
                  <a:sysClr val="windowText" lastClr="000000"/>
                </a:solidFill>
              </a:endParaRPr>
            </a:p>
          </p:txBody>
        </p:sp>
        <p:sp>
          <p:nvSpPr>
            <p:cNvPr id="25" name="Freeform: Shape 24"/>
            <p:cNvSpPr/>
            <p:nvPr/>
          </p:nvSpPr>
          <p:spPr>
            <a:xfrm>
              <a:off x="2575245" y="3069196"/>
              <a:ext cx="1728000" cy="1728000"/>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lvl="0" algn="ctr" defTabSz="1887463">
                <a:lnSpc>
                  <a:spcPct val="90000"/>
                </a:lnSpc>
                <a:spcBef>
                  <a:spcPct val="0"/>
                </a:spcBef>
                <a:spcAft>
                  <a:spcPct val="35000"/>
                </a:spcAft>
                <a:defRPr/>
              </a:pPr>
              <a:r>
                <a:rPr lang="en-US" sz="1200" b="1" kern="0" dirty="0">
                  <a:solidFill>
                    <a:prstClr val="white"/>
                  </a:solidFill>
                </a:rPr>
                <a:t>Enabling environment </a:t>
              </a:r>
            </a:p>
            <a:p>
              <a:pPr lvl="0" algn="ctr" defTabSz="1887463">
                <a:lnSpc>
                  <a:spcPct val="90000"/>
                </a:lnSpc>
                <a:spcBef>
                  <a:spcPct val="0"/>
                </a:spcBef>
                <a:spcAft>
                  <a:spcPct val="35000"/>
                </a:spcAft>
                <a:defRPr/>
              </a:pPr>
              <a:r>
                <a:rPr lang="en-US" sz="1200" i="1" kern="0" dirty="0">
                  <a:solidFill>
                    <a:prstClr val="white"/>
                  </a:solidFill>
                </a:rPr>
                <a:t>(policy, regulation,        laws)</a:t>
              </a:r>
            </a:p>
          </p:txBody>
        </p:sp>
        <p:sp>
          <p:nvSpPr>
            <p:cNvPr id="60" name="Freeform: Shape 59">
              <a:extLst>
                <a:ext uri="{FF2B5EF4-FFF2-40B4-BE49-F238E27FC236}">
                  <a16:creationId xmlns:a16="http://schemas.microsoft.com/office/drawing/2014/main" xmlns="" id="{FAF286B4-3C36-494B-BC02-D53E70B529E8}"/>
                </a:ext>
              </a:extLst>
            </p:cNvPr>
            <p:cNvSpPr/>
            <p:nvPr/>
          </p:nvSpPr>
          <p:spPr>
            <a:xfrm>
              <a:off x="2082000" y="4593326"/>
              <a:ext cx="1728000" cy="1728000"/>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lvl="0" algn="ctr" defTabSz="1887463">
                <a:lnSpc>
                  <a:spcPct val="90000"/>
                </a:lnSpc>
                <a:spcBef>
                  <a:spcPct val="0"/>
                </a:spcBef>
                <a:spcAft>
                  <a:spcPct val="35000"/>
                </a:spcAft>
                <a:defRPr/>
              </a:pPr>
              <a:r>
                <a:rPr lang="en-US" sz="1200" b="1" kern="0" dirty="0">
                  <a:solidFill>
                    <a:prstClr val="white"/>
                  </a:solidFill>
                </a:rPr>
                <a:t>Supply</a:t>
              </a:r>
            </a:p>
            <a:p>
              <a:pPr lvl="0" algn="ctr" defTabSz="1887463">
                <a:lnSpc>
                  <a:spcPct val="90000"/>
                </a:lnSpc>
                <a:spcBef>
                  <a:spcPct val="0"/>
                </a:spcBef>
                <a:spcAft>
                  <a:spcPct val="35000"/>
                </a:spcAft>
                <a:defRPr/>
              </a:pPr>
              <a:r>
                <a:rPr lang="en-US" sz="1200" i="1" kern="0" dirty="0">
                  <a:solidFill>
                    <a:prstClr val="white"/>
                  </a:solidFill>
                </a:rPr>
                <a:t>of financial products  &amp; services </a:t>
              </a:r>
            </a:p>
            <a:p>
              <a:pPr lvl="0" algn="ctr" defTabSz="1887463">
                <a:lnSpc>
                  <a:spcPct val="90000"/>
                </a:lnSpc>
                <a:spcBef>
                  <a:spcPct val="0"/>
                </a:spcBef>
                <a:spcAft>
                  <a:spcPct val="35000"/>
                </a:spcAft>
                <a:defRPr/>
              </a:pPr>
              <a:r>
                <a:rPr lang="en-US" sz="1200" i="1" kern="0" dirty="0">
                  <a:solidFill>
                    <a:prstClr val="white"/>
                  </a:solidFill>
                </a:rPr>
                <a:t>(financial markets)</a:t>
              </a:r>
            </a:p>
          </p:txBody>
        </p:sp>
        <p:sp>
          <p:nvSpPr>
            <p:cNvPr id="62" name="Freeform: Shape 61">
              <a:extLst>
                <a:ext uri="{FF2B5EF4-FFF2-40B4-BE49-F238E27FC236}">
                  <a16:creationId xmlns:a16="http://schemas.microsoft.com/office/drawing/2014/main" xmlns="" id="{6B5A9BE2-7948-4810-AC58-6FCC0A11C4CB}"/>
                </a:ext>
              </a:extLst>
            </p:cNvPr>
            <p:cNvSpPr/>
            <p:nvPr/>
          </p:nvSpPr>
          <p:spPr>
            <a:xfrm>
              <a:off x="939058" y="3276600"/>
              <a:ext cx="1728000" cy="1728000"/>
            </a:xfrm>
            <a:custGeom>
              <a:avLst/>
              <a:gdLst>
                <a:gd name="connsiteX0" fmla="*/ 1718767 w 2421466"/>
                <a:gd name="connsiteY0" fmla="*/ 386075 h 2421466"/>
                <a:gd name="connsiteX1" fmla="*/ 1907119 w 2421466"/>
                <a:gd name="connsiteY1" fmla="*/ 228021 h 2421466"/>
                <a:gd name="connsiteX2" fmla="*/ 2057590 w 2421466"/>
                <a:gd name="connsiteY2" fmla="*/ 354281 h 2421466"/>
                <a:gd name="connsiteX3" fmla="*/ 1934644 w 2421466"/>
                <a:gd name="connsiteY3" fmla="*/ 567217 h 2421466"/>
                <a:gd name="connsiteX4" fmla="*/ 2129990 w 2421466"/>
                <a:gd name="connsiteY4" fmla="*/ 905566 h 2421466"/>
                <a:gd name="connsiteX5" fmla="*/ 2375871 w 2421466"/>
                <a:gd name="connsiteY5" fmla="*/ 905560 h 2421466"/>
                <a:gd name="connsiteX6" fmla="*/ 2409980 w 2421466"/>
                <a:gd name="connsiteY6" fmla="*/ 1099002 h 2421466"/>
                <a:gd name="connsiteX7" fmla="*/ 2178925 w 2421466"/>
                <a:gd name="connsiteY7" fmla="*/ 1183092 h 2421466"/>
                <a:gd name="connsiteX8" fmla="*/ 2111082 w 2421466"/>
                <a:gd name="connsiteY8" fmla="*/ 1567848 h 2421466"/>
                <a:gd name="connsiteX9" fmla="*/ 2299442 w 2421466"/>
                <a:gd name="connsiteY9" fmla="*/ 1725893 h 2421466"/>
                <a:gd name="connsiteX10" fmla="*/ 2201229 w 2421466"/>
                <a:gd name="connsiteY10" fmla="*/ 1896003 h 2421466"/>
                <a:gd name="connsiteX11" fmla="*/ 1970178 w 2421466"/>
                <a:gd name="connsiteY11" fmla="*/ 1811900 h 2421466"/>
                <a:gd name="connsiteX12" fmla="*/ 1670891 w 2421466"/>
                <a:gd name="connsiteY12" fmla="*/ 2063032 h 2421466"/>
                <a:gd name="connsiteX13" fmla="*/ 1713594 w 2421466"/>
                <a:gd name="connsiteY13" fmla="*/ 2305177 h 2421466"/>
                <a:gd name="connsiteX14" fmla="*/ 1529014 w 2421466"/>
                <a:gd name="connsiteY14" fmla="*/ 2372358 h 2421466"/>
                <a:gd name="connsiteX15" fmla="*/ 1406079 w 2421466"/>
                <a:gd name="connsiteY15" fmla="*/ 2159416 h 2421466"/>
                <a:gd name="connsiteX16" fmla="*/ 1015387 w 2421466"/>
                <a:gd name="connsiteY16" fmla="*/ 2159416 h 2421466"/>
                <a:gd name="connsiteX17" fmla="*/ 892452 w 2421466"/>
                <a:gd name="connsiteY17" fmla="*/ 2372358 h 2421466"/>
                <a:gd name="connsiteX18" fmla="*/ 707872 w 2421466"/>
                <a:gd name="connsiteY18" fmla="*/ 2305177 h 2421466"/>
                <a:gd name="connsiteX19" fmla="*/ 750575 w 2421466"/>
                <a:gd name="connsiteY19" fmla="*/ 2063032 h 2421466"/>
                <a:gd name="connsiteX20" fmla="*/ 451288 w 2421466"/>
                <a:gd name="connsiteY20" fmla="*/ 1811900 h 2421466"/>
                <a:gd name="connsiteX21" fmla="*/ 220237 w 2421466"/>
                <a:gd name="connsiteY21" fmla="*/ 1896003 h 2421466"/>
                <a:gd name="connsiteX22" fmla="*/ 122024 w 2421466"/>
                <a:gd name="connsiteY22" fmla="*/ 1725893 h 2421466"/>
                <a:gd name="connsiteX23" fmla="*/ 310384 w 2421466"/>
                <a:gd name="connsiteY23" fmla="*/ 1567848 h 2421466"/>
                <a:gd name="connsiteX24" fmla="*/ 242541 w 2421466"/>
                <a:gd name="connsiteY24" fmla="*/ 1183092 h 2421466"/>
                <a:gd name="connsiteX25" fmla="*/ 11486 w 2421466"/>
                <a:gd name="connsiteY25" fmla="*/ 1099002 h 2421466"/>
                <a:gd name="connsiteX26" fmla="*/ 45595 w 2421466"/>
                <a:gd name="connsiteY26" fmla="*/ 905560 h 2421466"/>
                <a:gd name="connsiteX27" fmla="*/ 291476 w 2421466"/>
                <a:gd name="connsiteY27" fmla="*/ 905566 h 2421466"/>
                <a:gd name="connsiteX28" fmla="*/ 486822 w 2421466"/>
                <a:gd name="connsiteY28" fmla="*/ 567217 h 2421466"/>
                <a:gd name="connsiteX29" fmla="*/ 363876 w 2421466"/>
                <a:gd name="connsiteY29" fmla="*/ 354281 h 2421466"/>
                <a:gd name="connsiteX30" fmla="*/ 514347 w 2421466"/>
                <a:gd name="connsiteY30" fmla="*/ 228021 h 2421466"/>
                <a:gd name="connsiteX31" fmla="*/ 702699 w 2421466"/>
                <a:gd name="connsiteY31" fmla="*/ 386075 h 2421466"/>
                <a:gd name="connsiteX32" fmla="*/ 1069829 w 2421466"/>
                <a:gd name="connsiteY32" fmla="*/ 252450 h 2421466"/>
                <a:gd name="connsiteX33" fmla="*/ 1112520 w 2421466"/>
                <a:gd name="connsiteY33" fmla="*/ 10304 h 2421466"/>
                <a:gd name="connsiteX34" fmla="*/ 1308946 w 2421466"/>
                <a:gd name="connsiteY34" fmla="*/ 10304 h 2421466"/>
                <a:gd name="connsiteX35" fmla="*/ 1351636 w 2421466"/>
                <a:gd name="connsiteY35" fmla="*/ 252450 h 2421466"/>
                <a:gd name="connsiteX36" fmla="*/ 1718766 w 2421466"/>
                <a:gd name="connsiteY36" fmla="*/ 386074 h 2421466"/>
                <a:gd name="connsiteX37" fmla="*/ 1718767 w 2421466"/>
                <a:gd name="connsiteY37" fmla="*/ 386075 h 242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1466" h="2421466">
                  <a:moveTo>
                    <a:pt x="1718767" y="386075"/>
                  </a:moveTo>
                  <a:lnTo>
                    <a:pt x="1907119" y="228021"/>
                  </a:lnTo>
                  <a:lnTo>
                    <a:pt x="2057590" y="354281"/>
                  </a:lnTo>
                  <a:lnTo>
                    <a:pt x="1934644" y="567217"/>
                  </a:lnTo>
                  <a:cubicBezTo>
                    <a:pt x="2022066" y="665560"/>
                    <a:pt x="2088533" y="780685"/>
                    <a:pt x="2129990" y="905566"/>
                  </a:cubicBezTo>
                  <a:lnTo>
                    <a:pt x="2375871" y="905560"/>
                  </a:lnTo>
                  <a:lnTo>
                    <a:pt x="2409980" y="1099002"/>
                  </a:lnTo>
                  <a:lnTo>
                    <a:pt x="2178925" y="1183092"/>
                  </a:lnTo>
                  <a:cubicBezTo>
                    <a:pt x="2182680" y="1314621"/>
                    <a:pt x="2159596" y="1445536"/>
                    <a:pt x="2111082" y="1567848"/>
                  </a:cubicBezTo>
                  <a:lnTo>
                    <a:pt x="2299442" y="1725893"/>
                  </a:lnTo>
                  <a:lnTo>
                    <a:pt x="2201229" y="1896003"/>
                  </a:lnTo>
                  <a:lnTo>
                    <a:pt x="1970178" y="1811900"/>
                  </a:lnTo>
                  <a:cubicBezTo>
                    <a:pt x="1888509" y="1915071"/>
                    <a:pt x="1786676" y="2000519"/>
                    <a:pt x="1670891" y="2063032"/>
                  </a:cubicBezTo>
                  <a:lnTo>
                    <a:pt x="1713594" y="2305177"/>
                  </a:lnTo>
                  <a:lnTo>
                    <a:pt x="1529014" y="2372358"/>
                  </a:lnTo>
                  <a:lnTo>
                    <a:pt x="1406079" y="2159416"/>
                  </a:lnTo>
                  <a:cubicBezTo>
                    <a:pt x="1277200" y="2185954"/>
                    <a:pt x="1144266" y="2185954"/>
                    <a:pt x="1015387" y="2159416"/>
                  </a:cubicBezTo>
                  <a:lnTo>
                    <a:pt x="892452" y="2372358"/>
                  </a:lnTo>
                  <a:lnTo>
                    <a:pt x="707872" y="2305177"/>
                  </a:lnTo>
                  <a:lnTo>
                    <a:pt x="750575" y="2063032"/>
                  </a:lnTo>
                  <a:cubicBezTo>
                    <a:pt x="634790" y="2000520"/>
                    <a:pt x="532956" y="1915071"/>
                    <a:pt x="451288" y="1811900"/>
                  </a:cubicBezTo>
                  <a:lnTo>
                    <a:pt x="220237" y="1896003"/>
                  </a:lnTo>
                  <a:lnTo>
                    <a:pt x="122024" y="1725893"/>
                  </a:lnTo>
                  <a:lnTo>
                    <a:pt x="310384" y="1567848"/>
                  </a:lnTo>
                  <a:cubicBezTo>
                    <a:pt x="261870" y="1445536"/>
                    <a:pt x="238786" y="1314621"/>
                    <a:pt x="242541" y="1183092"/>
                  </a:cubicBezTo>
                  <a:lnTo>
                    <a:pt x="11486" y="1099002"/>
                  </a:lnTo>
                  <a:lnTo>
                    <a:pt x="45595" y="905560"/>
                  </a:lnTo>
                  <a:lnTo>
                    <a:pt x="291476" y="905566"/>
                  </a:lnTo>
                  <a:cubicBezTo>
                    <a:pt x="332933" y="780685"/>
                    <a:pt x="399400" y="665560"/>
                    <a:pt x="486822" y="567217"/>
                  </a:cubicBezTo>
                  <a:lnTo>
                    <a:pt x="363876" y="354281"/>
                  </a:lnTo>
                  <a:lnTo>
                    <a:pt x="514347" y="228021"/>
                  </a:lnTo>
                  <a:lnTo>
                    <a:pt x="702699" y="386075"/>
                  </a:lnTo>
                  <a:cubicBezTo>
                    <a:pt x="814729" y="317059"/>
                    <a:pt x="939646" y="271592"/>
                    <a:pt x="1069829" y="252450"/>
                  </a:cubicBezTo>
                  <a:lnTo>
                    <a:pt x="1112520" y="10304"/>
                  </a:lnTo>
                  <a:lnTo>
                    <a:pt x="1308946" y="10304"/>
                  </a:lnTo>
                  <a:lnTo>
                    <a:pt x="1351636" y="252450"/>
                  </a:lnTo>
                  <a:cubicBezTo>
                    <a:pt x="1481819" y="271592"/>
                    <a:pt x="1606736" y="317058"/>
                    <a:pt x="1718766" y="386074"/>
                  </a:cubicBezTo>
                  <a:lnTo>
                    <a:pt x="1718767" y="386075"/>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7511" rIns="108000" bIns="616602" numCol="1" spcCol="1270" anchor="ctr" anchorCtr="0">
              <a:noAutofit/>
            </a:bodyPr>
            <a:lstStyle/>
            <a:p>
              <a:pPr lvl="0" algn="ctr" defTabSz="1887463">
                <a:lnSpc>
                  <a:spcPct val="90000"/>
                </a:lnSpc>
                <a:spcBef>
                  <a:spcPct val="0"/>
                </a:spcBef>
                <a:spcAft>
                  <a:spcPct val="35000"/>
                </a:spcAft>
                <a:defRPr/>
              </a:pPr>
              <a:r>
                <a:rPr lang="en-US" sz="1200" b="1" kern="0" dirty="0">
                  <a:solidFill>
                    <a:prstClr val="white"/>
                  </a:solidFill>
                </a:rPr>
                <a:t>Demand</a:t>
              </a:r>
            </a:p>
            <a:p>
              <a:pPr lvl="0" algn="ctr" defTabSz="1887463">
                <a:lnSpc>
                  <a:spcPct val="90000"/>
                </a:lnSpc>
                <a:spcBef>
                  <a:spcPct val="0"/>
                </a:spcBef>
                <a:spcAft>
                  <a:spcPct val="35000"/>
                </a:spcAft>
                <a:defRPr/>
              </a:pPr>
              <a:r>
                <a:rPr lang="en-US" sz="1200" i="1" kern="0" dirty="0">
                  <a:solidFill>
                    <a:prstClr val="white"/>
                  </a:solidFill>
                </a:rPr>
                <a:t>for financial products  &amp; services </a:t>
              </a:r>
            </a:p>
            <a:p>
              <a:pPr lvl="0" algn="ctr" defTabSz="1887463">
                <a:lnSpc>
                  <a:spcPct val="90000"/>
                </a:lnSpc>
                <a:spcBef>
                  <a:spcPct val="0"/>
                </a:spcBef>
                <a:spcAft>
                  <a:spcPct val="35000"/>
                </a:spcAft>
                <a:defRPr/>
              </a:pPr>
              <a:r>
                <a:rPr lang="en-US" sz="1200" i="1" kern="0" dirty="0">
                  <a:solidFill>
                    <a:prstClr val="white"/>
                  </a:solidFill>
                </a:rPr>
                <a:t>(households)</a:t>
              </a:r>
            </a:p>
          </p:txBody>
        </p:sp>
        <p:sp>
          <p:nvSpPr>
            <p:cNvPr id="18" name="TextBox 17">
              <a:extLst>
                <a:ext uri="{FF2B5EF4-FFF2-40B4-BE49-F238E27FC236}">
                  <a16:creationId xmlns:a16="http://schemas.microsoft.com/office/drawing/2014/main" xmlns="" id="{C77A0502-90DE-4CBD-BCE9-C1071F6FC491}"/>
                </a:ext>
              </a:extLst>
            </p:cNvPr>
            <p:cNvSpPr txBox="1"/>
            <p:nvPr/>
          </p:nvSpPr>
          <p:spPr>
            <a:xfrm>
              <a:off x="999419" y="4947354"/>
              <a:ext cx="2006248" cy="677108"/>
            </a:xfrm>
            <a:prstGeom prst="rect">
              <a:avLst/>
            </a:prstGeom>
            <a:noFill/>
          </p:spPr>
          <p:txBody>
            <a:bodyPr wrap="square" rtlCol="0">
              <a:spAutoFit/>
            </a:bodyPr>
            <a:lstStyle/>
            <a:p>
              <a:r>
                <a:rPr lang="en-US" sz="1300" b="1" dirty="0">
                  <a:solidFill>
                    <a:schemeClr val="bg1"/>
                  </a:solidFill>
                </a:rPr>
                <a:t>Socio-cultural </a:t>
              </a:r>
            </a:p>
            <a:p>
              <a:r>
                <a:rPr lang="en-US" sz="1300" b="1" dirty="0">
                  <a:solidFill>
                    <a:schemeClr val="bg1"/>
                  </a:solidFill>
                </a:rPr>
                <a:t>context </a:t>
              </a:r>
            </a:p>
            <a:p>
              <a:r>
                <a:rPr lang="en-US" sz="1200" i="1" dirty="0">
                  <a:solidFill>
                    <a:schemeClr val="bg1"/>
                  </a:solidFill>
                </a:rPr>
                <a:t>(gender norms)</a:t>
              </a:r>
            </a:p>
          </p:txBody>
        </p:sp>
      </p:grpSp>
      <p:sp>
        <p:nvSpPr>
          <p:cNvPr id="70" name="TextBox 69">
            <a:extLst>
              <a:ext uri="{FF2B5EF4-FFF2-40B4-BE49-F238E27FC236}">
                <a16:creationId xmlns:a16="http://schemas.microsoft.com/office/drawing/2014/main" xmlns="" id="{4A56305C-441D-4895-8AE3-0CCD41725888}"/>
              </a:ext>
            </a:extLst>
          </p:cNvPr>
          <p:cNvSpPr txBox="1"/>
          <p:nvPr/>
        </p:nvSpPr>
        <p:spPr>
          <a:xfrm>
            <a:off x="75940" y="6344355"/>
            <a:ext cx="5234132" cy="381000"/>
          </a:xfrm>
          <a:prstGeom prst="rect">
            <a:avLst/>
          </a:prstGeom>
          <a:noFill/>
          <a:ln>
            <a:noFill/>
          </a:ln>
        </p:spPr>
        <p:txBody>
          <a:bodyPr wrap="square" lIns="36000" rIns="36000" rtlCol="0">
            <a:noAutofit/>
          </a:bodyPr>
          <a:lstStyle/>
          <a:p>
            <a:r>
              <a:rPr lang="en-ZA" sz="1000" dirty="0"/>
              <a:t>[1] The definition of agency in the financial inclusion context refers to controlling the benefits of financial product &amp; service use. [2] A recent Gates Foundation study highlighted 6 other key drivers of WEE.</a:t>
            </a:r>
          </a:p>
        </p:txBody>
      </p:sp>
      <p:sp>
        <p:nvSpPr>
          <p:cNvPr id="72" name="Arrow: Curved Left 38">
            <a:extLst>
              <a:ext uri="{FF2B5EF4-FFF2-40B4-BE49-F238E27FC236}">
                <a16:creationId xmlns:a16="http://schemas.microsoft.com/office/drawing/2014/main" xmlns="" id="{EDD6135B-053B-45A9-8A3F-8860EF0212CD}"/>
              </a:ext>
            </a:extLst>
          </p:cNvPr>
          <p:cNvSpPr/>
          <p:nvPr/>
        </p:nvSpPr>
        <p:spPr>
          <a:xfrm rot="9639428">
            <a:off x="601181" y="3656160"/>
            <a:ext cx="533693" cy="2733693"/>
          </a:xfrm>
          <a:prstGeom prst="curvedLeftArrow">
            <a:avLst/>
          </a:prstGeom>
          <a:solidFill>
            <a:srgbClr val="DDDD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chemeClr val="tx1"/>
              </a:solidFill>
              <a:effectLst/>
              <a:uLnTx/>
              <a:uFillTx/>
            </a:endParaRPr>
          </a:p>
        </p:txBody>
      </p:sp>
      <p:sp>
        <p:nvSpPr>
          <p:cNvPr id="73" name="Arrow: Curved Left 38">
            <a:extLst>
              <a:ext uri="{FF2B5EF4-FFF2-40B4-BE49-F238E27FC236}">
                <a16:creationId xmlns:a16="http://schemas.microsoft.com/office/drawing/2014/main" xmlns="" id="{4798E8E1-AEFA-487F-A923-3568FD92638A}"/>
              </a:ext>
            </a:extLst>
          </p:cNvPr>
          <p:cNvSpPr/>
          <p:nvPr/>
        </p:nvSpPr>
        <p:spPr>
          <a:xfrm rot="20023342">
            <a:off x="3971573" y="2416115"/>
            <a:ext cx="533693" cy="2733693"/>
          </a:xfrm>
          <a:prstGeom prst="curvedLeftArrow">
            <a:avLst/>
          </a:prstGeom>
          <a:solidFill>
            <a:srgbClr val="DDDD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chemeClr val="tx1"/>
              </a:solidFill>
              <a:effectLst/>
              <a:uLnTx/>
              <a:uFillTx/>
            </a:endParaRPr>
          </a:p>
        </p:txBody>
      </p:sp>
    </p:spTree>
    <p:extLst>
      <p:ext uri="{BB962C8B-B14F-4D97-AF65-F5344CB8AC3E}">
        <p14:creationId xmlns:p14="http://schemas.microsoft.com/office/powerpoint/2010/main" val="264456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Text Placeholder 4"/>
          <p:cNvSpPr txBox="1">
            <a:spLocks/>
          </p:cNvSpPr>
          <p:nvPr/>
        </p:nvSpPr>
        <p:spPr>
          <a:xfrm>
            <a:off x="381000" y="6400800"/>
            <a:ext cx="8153400" cy="244830"/>
          </a:xfrm>
          <a:prstGeom prst="rect">
            <a:avLst/>
          </a:prstGeom>
          <a:noFill/>
          <a:ln w="635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lgn="l" defTabSz="914400" rtl="0" eaLnBrk="1" latinLnBrk="0" hangingPunct="1">
              <a:spcBef>
                <a:spcPct val="20000"/>
              </a:spcBef>
              <a:buFont typeface="Arial" pitchFamily="34" charset="0"/>
              <a:buNone/>
              <a:defRPr sz="2400" kern="1200">
                <a:solidFill>
                  <a:srgbClr val="404040"/>
                </a:solidFill>
                <a:latin typeface="+mn-lt"/>
                <a:ea typeface="+mn-ea"/>
                <a:cs typeface="+mn-cs"/>
              </a:defRPr>
            </a:lvl1pPr>
            <a:lvl2pPr marL="804672"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2pPr>
            <a:lvl3pPr marL="1261872" indent="-347472" algn="l" defTabSz="914400" rtl="0" eaLnBrk="1" latinLnBrk="0" hangingPunct="1">
              <a:spcBef>
                <a:spcPct val="20000"/>
              </a:spcBef>
              <a:buFont typeface="Wingdings" pitchFamily="2" charset="2"/>
              <a:buChar char="ü"/>
              <a:defRPr sz="2400" kern="1200">
                <a:solidFill>
                  <a:srgbClr val="404040"/>
                </a:solidFill>
                <a:latin typeface="+mn-lt"/>
                <a:ea typeface="+mn-ea"/>
                <a:cs typeface="+mn-cs"/>
              </a:defRPr>
            </a:lvl3pPr>
            <a:lvl4pPr marL="16002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4pPr>
            <a:lvl5pPr marL="20574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ZA" sz="1100" b="0" i="0" u="none" strike="noStrike" kern="1200" cap="none" spc="0" normalizeH="0" baseline="30000" noProof="0" dirty="0">
                <a:ln>
                  <a:noFill/>
                </a:ln>
                <a:solidFill>
                  <a:prstClr val="black"/>
                </a:solidFill>
                <a:effectLst/>
                <a:uLnTx/>
                <a:uFillTx/>
                <a:latin typeface="Myriad Pro"/>
              </a:rPr>
              <a:t>1</a:t>
            </a:r>
            <a:r>
              <a:rPr kumimoji="0" lang="en-ZA" sz="1100" b="0" i="0" u="none" strike="noStrike" kern="1200" cap="none" spc="0" normalizeH="0" baseline="0" noProof="0" dirty="0">
                <a:ln>
                  <a:noFill/>
                </a:ln>
                <a:solidFill>
                  <a:prstClr val="black"/>
                </a:solidFill>
                <a:effectLst/>
                <a:uLnTx/>
                <a:uFillTx/>
                <a:latin typeface="Myriad Pro"/>
              </a:rPr>
              <a:t> Adolescent girls are defined as those in the 10 to 24 year age group. </a:t>
            </a:r>
            <a:r>
              <a:rPr kumimoji="0" lang="en-ZA" sz="1100" b="0" i="0" u="none" strike="noStrike" kern="1200" cap="none" spc="0" normalizeH="0" baseline="30000" noProof="0" dirty="0">
                <a:ln>
                  <a:noFill/>
                </a:ln>
                <a:solidFill>
                  <a:prstClr val="black"/>
                </a:solidFill>
                <a:effectLst/>
                <a:uLnTx/>
                <a:uFillTx/>
                <a:latin typeface="Myriad Pro"/>
              </a:rPr>
              <a:t>2 </a:t>
            </a:r>
            <a:r>
              <a:rPr kumimoji="0" lang="en-ZA" sz="1100" b="0" i="0" u="none" strike="noStrike" kern="1200" cap="none" spc="0" normalizeH="0" baseline="0" noProof="0" dirty="0">
                <a:ln>
                  <a:noFill/>
                </a:ln>
                <a:solidFill>
                  <a:prstClr val="black"/>
                </a:solidFill>
                <a:effectLst/>
                <a:uLnTx/>
                <a:uFillTx/>
                <a:latin typeface="Myriad Pro"/>
              </a:rPr>
              <a:t>This could include other family members dying. </a:t>
            </a:r>
            <a:r>
              <a:rPr kumimoji="0" lang="en-ZA" sz="1100" b="0" i="0" u="none" strike="noStrike" kern="1200" cap="none" spc="0" normalizeH="0" baseline="30000" noProof="0" dirty="0">
                <a:ln>
                  <a:noFill/>
                </a:ln>
                <a:solidFill>
                  <a:prstClr val="black"/>
                </a:solidFill>
                <a:effectLst/>
                <a:uLnTx/>
                <a:uFillTx/>
                <a:latin typeface="Myriad Pro"/>
              </a:rPr>
              <a:t>3 </a:t>
            </a:r>
            <a:r>
              <a:rPr kumimoji="0" lang="en-ZA" sz="1100" b="0" i="0" u="none" strike="noStrike" kern="1200" cap="none" spc="0" normalizeH="0" baseline="0" noProof="0" dirty="0">
                <a:ln>
                  <a:noFill/>
                </a:ln>
                <a:solidFill>
                  <a:prstClr val="black"/>
                </a:solidFill>
                <a:effectLst/>
                <a:uLnTx/>
                <a:uFillTx/>
                <a:latin typeface="Myriad Pro"/>
              </a:rPr>
              <a:t>In Ethiopia for example, some girls may be forced to migrate for marriage. </a:t>
            </a:r>
            <a:endParaRPr kumimoji="0" lang="en-ZA" sz="1100" b="0" i="0" u="none" strike="noStrike" kern="1200" cap="none" spc="0" normalizeH="0" baseline="30000" noProof="0" dirty="0">
              <a:ln>
                <a:noFill/>
              </a:ln>
              <a:solidFill>
                <a:prstClr val="black"/>
              </a:solidFill>
              <a:effectLst/>
              <a:uLnTx/>
              <a:uFillTx/>
              <a:latin typeface="Myriad Pro"/>
            </a:endParaRPr>
          </a:p>
        </p:txBody>
      </p:sp>
      <p:grpSp>
        <p:nvGrpSpPr>
          <p:cNvPr id="5" name="Group 4"/>
          <p:cNvGrpSpPr/>
          <p:nvPr/>
        </p:nvGrpSpPr>
        <p:grpSpPr>
          <a:xfrm>
            <a:off x="320084" y="1267054"/>
            <a:ext cx="2399628" cy="1411704"/>
            <a:chOff x="505211" y="1267617"/>
            <a:chExt cx="4193216" cy="897590"/>
          </a:xfrm>
        </p:grpSpPr>
        <p:sp>
          <p:nvSpPr>
            <p:cNvPr id="94" name="Freeform: Shape 93"/>
            <p:cNvSpPr/>
            <p:nvPr/>
          </p:nvSpPr>
          <p:spPr>
            <a:xfrm>
              <a:off x="505212" y="1267617"/>
              <a:ext cx="401714" cy="254953"/>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Myriad Pro"/>
              </a:endParaRPr>
            </a:p>
          </p:txBody>
        </p:sp>
        <p:sp>
          <p:nvSpPr>
            <p:cNvPr id="95" name="Freeform: Shape 94"/>
            <p:cNvSpPr/>
            <p:nvPr/>
          </p:nvSpPr>
          <p:spPr>
            <a:xfrm>
              <a:off x="505211" y="1572712"/>
              <a:ext cx="401714" cy="254953"/>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Myriad Pro"/>
              </a:endParaRPr>
            </a:p>
          </p:txBody>
        </p:sp>
        <p:sp>
          <p:nvSpPr>
            <p:cNvPr id="96" name="Freeform: Shape 95"/>
            <p:cNvSpPr/>
            <p:nvPr/>
          </p:nvSpPr>
          <p:spPr>
            <a:xfrm>
              <a:off x="511857" y="1903865"/>
              <a:ext cx="401714" cy="254953"/>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Myriad Pro"/>
              </a:endParaRPr>
            </a:p>
          </p:txBody>
        </p:sp>
        <p:sp>
          <p:nvSpPr>
            <p:cNvPr id="97" name="Text Placeholder 4"/>
            <p:cNvSpPr txBox="1">
              <a:spLocks/>
            </p:cNvSpPr>
            <p:nvPr/>
          </p:nvSpPr>
          <p:spPr>
            <a:xfrm>
              <a:off x="979969" y="1271244"/>
              <a:ext cx="3225957" cy="305094"/>
            </a:xfrm>
            <a:prstGeom prst="rect">
              <a:avLst/>
            </a:prstGeom>
            <a:noFill/>
            <a:ln w="635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lgn="l" defTabSz="914400" rtl="0" eaLnBrk="1" latinLnBrk="0" hangingPunct="1">
                <a:spcBef>
                  <a:spcPct val="20000"/>
                </a:spcBef>
                <a:buFont typeface="Arial" pitchFamily="34" charset="0"/>
                <a:buNone/>
                <a:defRPr sz="2400" kern="1200">
                  <a:solidFill>
                    <a:srgbClr val="404040"/>
                  </a:solidFill>
                  <a:latin typeface="+mn-lt"/>
                  <a:ea typeface="+mn-ea"/>
                  <a:cs typeface="+mn-cs"/>
                </a:defRPr>
              </a:lvl1pPr>
              <a:lvl2pPr marL="804672"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2pPr>
              <a:lvl3pPr marL="1261872" indent="-347472" algn="l" defTabSz="914400" rtl="0" eaLnBrk="1" latinLnBrk="0" hangingPunct="1">
                <a:spcBef>
                  <a:spcPct val="20000"/>
                </a:spcBef>
                <a:buFont typeface="Wingdings" pitchFamily="2" charset="2"/>
                <a:buChar char="ü"/>
                <a:defRPr sz="2400" kern="1200">
                  <a:solidFill>
                    <a:srgbClr val="404040"/>
                  </a:solidFill>
                  <a:latin typeface="+mn-lt"/>
                  <a:ea typeface="+mn-ea"/>
                  <a:cs typeface="+mn-cs"/>
                </a:defRPr>
              </a:lvl3pPr>
              <a:lvl4pPr marL="16002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4pPr>
              <a:lvl5pPr marL="20574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ZA" sz="1200" b="0" i="0" u="none" strike="noStrike" kern="1200" cap="none" spc="0" normalizeH="0" baseline="0" noProof="0" dirty="0">
                  <a:ln>
                    <a:noFill/>
                  </a:ln>
                  <a:solidFill>
                    <a:prstClr val="black"/>
                  </a:solidFill>
                  <a:effectLst/>
                  <a:uLnTx/>
                  <a:uFillTx/>
                  <a:latin typeface="Myriad Pro"/>
                </a:rPr>
                <a:t>Adolescent girl</a:t>
              </a:r>
              <a:r>
                <a:rPr kumimoji="0" lang="en-ZA" sz="1200" b="0" i="0" u="none" strike="noStrike" kern="1200" cap="none" spc="0" normalizeH="0" baseline="30000" noProof="0" dirty="0">
                  <a:ln>
                    <a:noFill/>
                  </a:ln>
                  <a:solidFill>
                    <a:prstClr val="black"/>
                  </a:solidFill>
                  <a:effectLst/>
                  <a:uLnTx/>
                  <a:uFillTx/>
                  <a:latin typeface="Myriad Pro"/>
                </a:rPr>
                <a:t>1</a:t>
              </a:r>
              <a:r>
                <a:rPr kumimoji="0" lang="en-ZA" sz="1200" b="0" i="0" u="none" strike="noStrike" kern="1200" cap="none" spc="0" normalizeH="0" baseline="0" noProof="0" dirty="0">
                  <a:ln>
                    <a:noFill/>
                  </a:ln>
                  <a:solidFill>
                    <a:prstClr val="black"/>
                  </a:solidFill>
                  <a:effectLst/>
                  <a:uLnTx/>
                  <a:uFillTx/>
                  <a:latin typeface="Myriad Pro"/>
                </a:rPr>
                <a:t> life stage</a:t>
              </a:r>
            </a:p>
          </p:txBody>
        </p:sp>
        <p:sp>
          <p:nvSpPr>
            <p:cNvPr id="98" name="Text Placeholder 4"/>
            <p:cNvSpPr txBox="1">
              <a:spLocks/>
            </p:cNvSpPr>
            <p:nvPr/>
          </p:nvSpPr>
          <p:spPr>
            <a:xfrm>
              <a:off x="940820" y="1563556"/>
              <a:ext cx="3757607" cy="281464"/>
            </a:xfrm>
            <a:prstGeom prst="rect">
              <a:avLst/>
            </a:prstGeom>
            <a:noFill/>
            <a:ln w="635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lgn="l" defTabSz="914400" rtl="0" eaLnBrk="1" latinLnBrk="0" hangingPunct="1">
                <a:spcBef>
                  <a:spcPct val="20000"/>
                </a:spcBef>
                <a:buFont typeface="Arial" pitchFamily="34" charset="0"/>
                <a:buNone/>
                <a:defRPr sz="2400" kern="1200">
                  <a:solidFill>
                    <a:srgbClr val="404040"/>
                  </a:solidFill>
                  <a:latin typeface="+mn-lt"/>
                  <a:ea typeface="+mn-ea"/>
                  <a:cs typeface="+mn-cs"/>
                </a:defRPr>
              </a:lvl1pPr>
              <a:lvl2pPr marL="804672"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2pPr>
              <a:lvl3pPr marL="1261872" indent="-347472" algn="l" defTabSz="914400" rtl="0" eaLnBrk="1" latinLnBrk="0" hangingPunct="1">
                <a:spcBef>
                  <a:spcPct val="20000"/>
                </a:spcBef>
                <a:buFont typeface="Wingdings" pitchFamily="2" charset="2"/>
                <a:buChar char="ü"/>
                <a:defRPr sz="2400" kern="1200">
                  <a:solidFill>
                    <a:srgbClr val="404040"/>
                  </a:solidFill>
                  <a:latin typeface="+mn-lt"/>
                  <a:ea typeface="+mn-ea"/>
                  <a:cs typeface="+mn-cs"/>
                </a:defRPr>
              </a:lvl3pPr>
              <a:lvl4pPr marL="16002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4pPr>
              <a:lvl5pPr marL="20574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ZA" sz="1200" b="0" i="0" u="none" strike="noStrike" kern="1200" cap="none" spc="0" normalizeH="0" baseline="0" noProof="0" dirty="0">
                  <a:ln>
                    <a:noFill/>
                  </a:ln>
                  <a:solidFill>
                    <a:prstClr val="black"/>
                  </a:solidFill>
                  <a:effectLst/>
                  <a:uLnTx/>
                  <a:uFillTx/>
                  <a:latin typeface="Myriad Pro"/>
                </a:rPr>
                <a:t>Adolescent and/or adult woman life stage</a:t>
              </a:r>
            </a:p>
          </p:txBody>
        </p:sp>
        <p:sp>
          <p:nvSpPr>
            <p:cNvPr id="99" name="Text Placeholder 4"/>
            <p:cNvSpPr txBox="1">
              <a:spLocks/>
            </p:cNvSpPr>
            <p:nvPr/>
          </p:nvSpPr>
          <p:spPr>
            <a:xfrm>
              <a:off x="939835" y="1883743"/>
              <a:ext cx="3757607" cy="281464"/>
            </a:xfrm>
            <a:prstGeom prst="rect">
              <a:avLst/>
            </a:prstGeom>
            <a:noFill/>
            <a:ln w="635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lgn="l" defTabSz="914400" rtl="0" eaLnBrk="1" latinLnBrk="0" hangingPunct="1">
                <a:spcBef>
                  <a:spcPct val="20000"/>
                </a:spcBef>
                <a:buFont typeface="Arial" pitchFamily="34" charset="0"/>
                <a:buNone/>
                <a:defRPr sz="2400" kern="1200">
                  <a:solidFill>
                    <a:srgbClr val="404040"/>
                  </a:solidFill>
                  <a:latin typeface="+mn-lt"/>
                  <a:ea typeface="+mn-ea"/>
                  <a:cs typeface="+mn-cs"/>
                </a:defRPr>
              </a:lvl1pPr>
              <a:lvl2pPr marL="804672"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2pPr>
              <a:lvl3pPr marL="1261872" indent="-347472" algn="l" defTabSz="914400" rtl="0" eaLnBrk="1" latinLnBrk="0" hangingPunct="1">
                <a:spcBef>
                  <a:spcPct val="20000"/>
                </a:spcBef>
                <a:buFont typeface="Wingdings" pitchFamily="2" charset="2"/>
                <a:buChar char="ü"/>
                <a:defRPr sz="2400" kern="1200">
                  <a:solidFill>
                    <a:srgbClr val="404040"/>
                  </a:solidFill>
                  <a:latin typeface="+mn-lt"/>
                  <a:ea typeface="+mn-ea"/>
                  <a:cs typeface="+mn-cs"/>
                </a:defRPr>
              </a:lvl3pPr>
              <a:lvl4pPr marL="16002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4pPr>
              <a:lvl5pPr marL="2057400" indent="-347472" algn="l" defTabSz="914400" rtl="0" eaLnBrk="1" latinLnBrk="0" hangingPunct="1">
                <a:spcBef>
                  <a:spcPct val="20000"/>
                </a:spcBef>
                <a:buFont typeface="Arial" pitchFamily="34" charset="0"/>
                <a:buChar char="•"/>
                <a:defRPr sz="2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ZA" sz="1200" b="0" i="0" u="none" strike="noStrike" kern="1200" cap="none" spc="0" normalizeH="0" baseline="0" noProof="0" dirty="0">
                  <a:ln>
                    <a:noFill/>
                  </a:ln>
                  <a:solidFill>
                    <a:prstClr val="black"/>
                  </a:solidFill>
                  <a:effectLst/>
                  <a:uLnTx/>
                  <a:uFillTx/>
                  <a:latin typeface="Myriad Pro"/>
                </a:rPr>
                <a:t>Adult woman life stage</a:t>
              </a:r>
            </a:p>
          </p:txBody>
        </p:sp>
      </p:grpSp>
      <p:sp>
        <p:nvSpPr>
          <p:cNvPr id="2" name="Title 1"/>
          <p:cNvSpPr>
            <a:spLocks noGrp="1"/>
          </p:cNvSpPr>
          <p:nvPr>
            <p:ph type="title"/>
          </p:nvPr>
        </p:nvSpPr>
        <p:spPr/>
        <p:txBody>
          <a:bodyPr/>
          <a:lstStyle/>
          <a:p>
            <a:r>
              <a:rPr lang="en-US" sz="2400" dirty="0">
                <a:solidFill>
                  <a:schemeClr val="tx1"/>
                </a:solidFill>
              </a:rPr>
              <a:t>During a woman’s life, she goes through multiple life cycle transition stages</a:t>
            </a:r>
          </a:p>
        </p:txBody>
      </p:sp>
      <p:sp>
        <p:nvSpPr>
          <p:cNvPr id="73" name="Freeform: Shape 72"/>
          <p:cNvSpPr/>
          <p:nvPr/>
        </p:nvSpPr>
        <p:spPr>
          <a:xfrm>
            <a:off x="3810000" y="3205281"/>
            <a:ext cx="1544491" cy="1156850"/>
          </a:xfrm>
          <a:custGeom>
            <a:avLst/>
            <a:gdLst>
              <a:gd name="connsiteX0" fmla="*/ 0 w 1370615"/>
              <a:gd name="connsiteY0" fmla="*/ 76145 h 761453"/>
              <a:gd name="connsiteX1" fmla="*/ 76145 w 1370615"/>
              <a:gd name="connsiteY1" fmla="*/ 0 h 761453"/>
              <a:gd name="connsiteX2" fmla="*/ 1294470 w 1370615"/>
              <a:gd name="connsiteY2" fmla="*/ 0 h 761453"/>
              <a:gd name="connsiteX3" fmla="*/ 1370615 w 1370615"/>
              <a:gd name="connsiteY3" fmla="*/ 76145 h 761453"/>
              <a:gd name="connsiteX4" fmla="*/ 1370615 w 1370615"/>
              <a:gd name="connsiteY4" fmla="*/ 685308 h 761453"/>
              <a:gd name="connsiteX5" fmla="*/ 1294470 w 1370615"/>
              <a:gd name="connsiteY5" fmla="*/ 761453 h 761453"/>
              <a:gd name="connsiteX6" fmla="*/ 76145 w 1370615"/>
              <a:gd name="connsiteY6" fmla="*/ 761453 h 761453"/>
              <a:gd name="connsiteX7" fmla="*/ 0 w 1370615"/>
              <a:gd name="connsiteY7" fmla="*/ 685308 h 761453"/>
              <a:gd name="connsiteX8" fmla="*/ 0 w 1370615"/>
              <a:gd name="connsiteY8" fmla="*/ 76145 h 76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615" h="761453">
                <a:moveTo>
                  <a:pt x="0" y="76145"/>
                </a:moveTo>
                <a:cubicBezTo>
                  <a:pt x="0" y="34091"/>
                  <a:pt x="34091" y="0"/>
                  <a:pt x="76145" y="0"/>
                </a:cubicBezTo>
                <a:lnTo>
                  <a:pt x="1294470" y="0"/>
                </a:lnTo>
                <a:cubicBezTo>
                  <a:pt x="1336524" y="0"/>
                  <a:pt x="1370615" y="34091"/>
                  <a:pt x="1370615" y="76145"/>
                </a:cubicBezTo>
                <a:lnTo>
                  <a:pt x="1370615" y="685308"/>
                </a:lnTo>
                <a:cubicBezTo>
                  <a:pt x="1370615" y="727362"/>
                  <a:pt x="1336524" y="761453"/>
                  <a:pt x="1294470" y="761453"/>
                </a:cubicBezTo>
                <a:lnTo>
                  <a:pt x="76145" y="761453"/>
                </a:lnTo>
                <a:cubicBezTo>
                  <a:pt x="34091" y="761453"/>
                  <a:pt x="0" y="727362"/>
                  <a:pt x="0" y="685308"/>
                </a:cubicBezTo>
                <a:lnTo>
                  <a:pt x="0" y="76145"/>
                </a:lnTo>
                <a:close/>
              </a:path>
            </a:pathLst>
          </a:custGeom>
          <a:solidFill>
            <a:schemeClr val="bg1">
              <a:lumMod val="85000"/>
              <a:alpha val="90000"/>
            </a:schemeClr>
          </a:solidFill>
          <a:ln>
            <a:solidFill>
              <a:schemeClr val="bg1">
                <a:lumMod val="95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5642" tIns="75642" rIns="75642" bIns="75642"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black">
                    <a:hueOff val="0"/>
                    <a:satOff val="0"/>
                    <a:lumOff val="0"/>
                    <a:alphaOff val="0"/>
                  </a:prstClr>
                </a:solidFill>
                <a:effectLst/>
                <a:uLnTx/>
                <a:uFillTx/>
                <a:latin typeface="Myriad Pro"/>
              </a:rPr>
              <a:t>Key life cycle stages of transition for women and girls</a:t>
            </a:r>
          </a:p>
        </p:txBody>
      </p:sp>
      <p:grpSp>
        <p:nvGrpSpPr>
          <p:cNvPr id="3" name="Group 2"/>
          <p:cNvGrpSpPr/>
          <p:nvPr/>
        </p:nvGrpSpPr>
        <p:grpSpPr>
          <a:xfrm>
            <a:off x="1752600" y="1600200"/>
            <a:ext cx="5631345" cy="4208216"/>
            <a:chOff x="1624758" y="1575019"/>
            <a:chExt cx="5631345" cy="4208216"/>
          </a:xfrm>
        </p:grpSpPr>
        <p:grpSp>
          <p:nvGrpSpPr>
            <p:cNvPr id="72" name="Group 71"/>
            <p:cNvGrpSpPr/>
            <p:nvPr/>
          </p:nvGrpSpPr>
          <p:grpSpPr>
            <a:xfrm>
              <a:off x="1624758" y="1575019"/>
              <a:ext cx="5631345" cy="4208216"/>
              <a:chOff x="1842859" y="1739763"/>
              <a:chExt cx="5631345" cy="4208216"/>
            </a:xfrm>
          </p:grpSpPr>
          <p:sp>
            <p:nvSpPr>
              <p:cNvPr id="75" name="Freeform: Shape 74"/>
              <p:cNvSpPr/>
              <p:nvPr/>
            </p:nvSpPr>
            <p:spPr>
              <a:xfrm>
                <a:off x="3972732" y="1739763"/>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Primary to secondary school</a:t>
                </a:r>
              </a:p>
            </p:txBody>
          </p:sp>
          <p:sp>
            <p:nvSpPr>
              <p:cNvPr id="77" name="Freeform: Shape 76"/>
              <p:cNvSpPr/>
              <p:nvPr/>
            </p:nvSpPr>
            <p:spPr>
              <a:xfrm>
                <a:off x="5416804" y="2136728"/>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Secondary to higher education</a:t>
                </a:r>
              </a:p>
            </p:txBody>
          </p:sp>
          <p:sp>
            <p:nvSpPr>
              <p:cNvPr id="79" name="Freeform: Shape 78"/>
              <p:cNvSpPr/>
              <p:nvPr/>
            </p:nvSpPr>
            <p:spPr>
              <a:xfrm>
                <a:off x="6102604" y="3896901"/>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Household contributor to manager</a:t>
                </a:r>
              </a:p>
            </p:txBody>
          </p:sp>
          <p:sp>
            <p:nvSpPr>
              <p:cNvPr id="81" name="Freeform: Shape 80"/>
              <p:cNvSpPr/>
              <p:nvPr/>
            </p:nvSpPr>
            <p:spPr>
              <a:xfrm>
                <a:off x="5455527" y="4755557"/>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Marriage</a:t>
                </a:r>
              </a:p>
            </p:txBody>
          </p:sp>
          <p:sp>
            <p:nvSpPr>
              <p:cNvPr id="83" name="Freeform: Shape 82"/>
              <p:cNvSpPr/>
              <p:nvPr/>
            </p:nvSpPr>
            <p:spPr>
              <a:xfrm>
                <a:off x="4048529" y="5125019"/>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Building a family</a:t>
                </a:r>
              </a:p>
            </p:txBody>
          </p:sp>
          <p:sp>
            <p:nvSpPr>
              <p:cNvPr id="85" name="Freeform: Shape 84"/>
              <p:cNvSpPr/>
              <p:nvPr/>
            </p:nvSpPr>
            <p:spPr>
              <a:xfrm>
                <a:off x="1842859" y="3915872"/>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Caring for ageing/infirm relatives</a:t>
                </a:r>
              </a:p>
            </p:txBody>
          </p:sp>
          <p:sp>
            <p:nvSpPr>
              <p:cNvPr id="86" name="Freeform: Shape 85"/>
              <p:cNvSpPr/>
              <p:nvPr/>
            </p:nvSpPr>
            <p:spPr>
              <a:xfrm>
                <a:off x="1842859" y="3015066"/>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Spousal death</a:t>
                </a:r>
                <a:r>
                  <a:rPr kumimoji="0" lang="en-US" sz="1300" b="1" i="0" u="none" strike="noStrike" kern="1200" cap="none" spc="0" normalizeH="0" baseline="30000" noProof="0" dirty="0">
                    <a:ln>
                      <a:noFill/>
                    </a:ln>
                    <a:solidFill>
                      <a:prstClr val="white"/>
                    </a:solidFill>
                    <a:effectLst/>
                    <a:uLnTx/>
                    <a:uFillTx/>
                    <a:latin typeface="Myriad Pro"/>
                  </a:rPr>
                  <a:t>2</a:t>
                </a:r>
                <a:endParaRPr kumimoji="0" lang="en-US" sz="1300" b="1" i="0" u="none" strike="noStrike" kern="1200" cap="none" spc="0" normalizeH="0" baseline="0" noProof="0" dirty="0">
                  <a:ln>
                    <a:noFill/>
                  </a:ln>
                  <a:solidFill>
                    <a:prstClr val="white"/>
                  </a:solidFill>
                  <a:effectLst/>
                  <a:uLnTx/>
                  <a:uFillTx/>
                  <a:latin typeface="Myriad Pro"/>
                </a:endParaRPr>
              </a:p>
            </p:txBody>
          </p:sp>
          <p:sp>
            <p:nvSpPr>
              <p:cNvPr id="88" name="Freeform: Shape 87"/>
              <p:cNvSpPr/>
              <p:nvPr/>
            </p:nvSpPr>
            <p:spPr>
              <a:xfrm>
                <a:off x="2525335" y="2123079"/>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Ageing to death</a:t>
                </a:r>
              </a:p>
            </p:txBody>
          </p:sp>
        </p:grpSp>
        <p:sp>
          <p:nvSpPr>
            <p:cNvPr id="74" name="Freeform: Shape 73"/>
            <p:cNvSpPr/>
            <p:nvPr/>
          </p:nvSpPr>
          <p:spPr>
            <a:xfrm>
              <a:off x="5884503" y="2823554"/>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Education to employment </a:t>
              </a:r>
            </a:p>
          </p:txBody>
        </p:sp>
        <p:sp>
          <p:nvSpPr>
            <p:cNvPr id="33" name="Freeform: Shape 32"/>
            <p:cNvSpPr/>
            <p:nvPr/>
          </p:nvSpPr>
          <p:spPr>
            <a:xfrm>
              <a:off x="2433544" y="4607465"/>
              <a:ext cx="1371600" cy="822960"/>
            </a:xfrm>
            <a:custGeom>
              <a:avLst/>
              <a:gdLst>
                <a:gd name="connsiteX0" fmla="*/ 0 w 1223227"/>
                <a:gd name="connsiteY0" fmla="*/ 115174 h 691031"/>
                <a:gd name="connsiteX1" fmla="*/ 115174 w 1223227"/>
                <a:gd name="connsiteY1" fmla="*/ 0 h 691031"/>
                <a:gd name="connsiteX2" fmla="*/ 1108053 w 1223227"/>
                <a:gd name="connsiteY2" fmla="*/ 0 h 691031"/>
                <a:gd name="connsiteX3" fmla="*/ 1223227 w 1223227"/>
                <a:gd name="connsiteY3" fmla="*/ 115174 h 691031"/>
                <a:gd name="connsiteX4" fmla="*/ 1223227 w 1223227"/>
                <a:gd name="connsiteY4" fmla="*/ 575857 h 691031"/>
                <a:gd name="connsiteX5" fmla="*/ 1108053 w 1223227"/>
                <a:gd name="connsiteY5" fmla="*/ 691031 h 691031"/>
                <a:gd name="connsiteX6" fmla="*/ 115174 w 1223227"/>
                <a:gd name="connsiteY6" fmla="*/ 691031 h 691031"/>
                <a:gd name="connsiteX7" fmla="*/ 0 w 1223227"/>
                <a:gd name="connsiteY7" fmla="*/ 575857 h 691031"/>
                <a:gd name="connsiteX8" fmla="*/ 0 w 1223227"/>
                <a:gd name="connsiteY8" fmla="*/ 115174 h 69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227" h="691031">
                  <a:moveTo>
                    <a:pt x="0" y="115174"/>
                  </a:moveTo>
                  <a:cubicBezTo>
                    <a:pt x="0" y="51565"/>
                    <a:pt x="51565" y="0"/>
                    <a:pt x="115174" y="0"/>
                  </a:cubicBezTo>
                  <a:lnTo>
                    <a:pt x="1108053" y="0"/>
                  </a:lnTo>
                  <a:cubicBezTo>
                    <a:pt x="1171662" y="0"/>
                    <a:pt x="1223227" y="51565"/>
                    <a:pt x="1223227" y="115174"/>
                  </a:cubicBezTo>
                  <a:lnTo>
                    <a:pt x="1223227" y="575857"/>
                  </a:lnTo>
                  <a:cubicBezTo>
                    <a:pt x="1223227" y="639466"/>
                    <a:pt x="1171662" y="691031"/>
                    <a:pt x="1108053" y="691031"/>
                  </a:cubicBezTo>
                  <a:lnTo>
                    <a:pt x="115174" y="691031"/>
                  </a:lnTo>
                  <a:cubicBezTo>
                    <a:pt x="51565" y="691031"/>
                    <a:pt x="0" y="639466"/>
                    <a:pt x="0" y="575857"/>
                  </a:cubicBezTo>
                  <a:lnTo>
                    <a:pt x="0" y="115174"/>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53" tIns="79453" rIns="79453" bIns="7945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Myriad Pro"/>
                </a:rPr>
                <a:t>Migration induced household changes</a:t>
              </a:r>
            </a:p>
          </p:txBody>
        </p:sp>
      </p:grpSp>
      <p:sp>
        <p:nvSpPr>
          <p:cNvPr id="4" name="Rectangular Callout 3"/>
          <p:cNvSpPr/>
          <p:nvPr/>
        </p:nvSpPr>
        <p:spPr>
          <a:xfrm>
            <a:off x="6858000" y="1363602"/>
            <a:ext cx="1904142" cy="998598"/>
          </a:xfrm>
          <a:prstGeom prst="wedgeRectCallout">
            <a:avLst>
              <a:gd name="adj1" fmla="val -48045"/>
              <a:gd name="adj2" fmla="val 77838"/>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50" b="0" i="1" u="none" strike="noStrike" kern="1200" cap="none" spc="0" normalizeH="0" baseline="0" noProof="0" dirty="0">
                <a:ln>
                  <a:noFill/>
                </a:ln>
                <a:solidFill>
                  <a:prstClr val="black"/>
                </a:solidFill>
                <a:effectLst/>
                <a:uLnTx/>
                <a:uFillTx/>
                <a:latin typeface="Myriad Pro"/>
              </a:rPr>
              <a:t>These transitions are not linear nor exhaustive. A woman’s life cycle will ultimately depend on country-context</a:t>
            </a:r>
          </a:p>
        </p:txBody>
      </p:sp>
      <p:grpSp>
        <p:nvGrpSpPr>
          <p:cNvPr id="29" name="Group 28"/>
          <p:cNvGrpSpPr/>
          <p:nvPr/>
        </p:nvGrpSpPr>
        <p:grpSpPr>
          <a:xfrm>
            <a:off x="3877889" y="2895600"/>
            <a:ext cx="1432749" cy="1803295"/>
            <a:chOff x="4685487" y="2764069"/>
            <a:chExt cx="1432749" cy="1803295"/>
          </a:xfrm>
        </p:grpSpPr>
        <p:sp>
          <p:nvSpPr>
            <p:cNvPr id="31" name="Arrow: Curved Down 3"/>
            <p:cNvSpPr/>
            <p:nvPr/>
          </p:nvSpPr>
          <p:spPr>
            <a:xfrm rot="525043">
              <a:off x="4772045" y="2764069"/>
              <a:ext cx="1346191" cy="484184"/>
            </a:xfrm>
            <a:prstGeom prst="curved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Myriad Pro"/>
              </a:endParaRPr>
            </a:p>
          </p:txBody>
        </p:sp>
        <p:sp>
          <p:nvSpPr>
            <p:cNvPr id="32" name="Arrow: Curved Down 58"/>
            <p:cNvSpPr/>
            <p:nvPr/>
          </p:nvSpPr>
          <p:spPr>
            <a:xfrm rot="11104147">
              <a:off x="4685487" y="4083180"/>
              <a:ext cx="1346191" cy="484184"/>
            </a:xfrm>
            <a:prstGeom prst="curved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Myriad Pro"/>
              </a:endParaRPr>
            </a:p>
          </p:txBody>
        </p:sp>
      </p:grpSp>
      <p:sp>
        <p:nvSpPr>
          <p:cNvPr id="34" name="Rectangular Callout 3"/>
          <p:cNvSpPr/>
          <p:nvPr/>
        </p:nvSpPr>
        <p:spPr>
          <a:xfrm>
            <a:off x="6945719" y="4757422"/>
            <a:ext cx="1816423" cy="1618654"/>
          </a:xfrm>
          <a:prstGeom prst="wedgeRectCallout">
            <a:avLst>
              <a:gd name="adj1" fmla="val -26358"/>
              <a:gd name="adj2" fmla="val -61569"/>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50" b="0" i="1" u="none" strike="noStrike" kern="1200" cap="none" spc="0" normalizeH="0" baseline="0" noProof="0" dirty="0">
                <a:ln>
                  <a:noFill/>
                </a:ln>
                <a:solidFill>
                  <a:prstClr val="black"/>
                </a:solidFill>
                <a:effectLst/>
                <a:uLnTx/>
                <a:uFillTx/>
                <a:latin typeface="Myriad Pro"/>
              </a:rPr>
              <a:t>Girls may have different starting points, may skip stages or may transition between stages at different ages e.g. out-of-school girls would skip the first three stages</a:t>
            </a:r>
          </a:p>
        </p:txBody>
      </p:sp>
      <p:sp>
        <p:nvSpPr>
          <p:cNvPr id="35" name="Rectangular Callout 3"/>
          <p:cNvSpPr/>
          <p:nvPr/>
        </p:nvSpPr>
        <p:spPr>
          <a:xfrm>
            <a:off x="320084" y="3846407"/>
            <a:ext cx="1397118" cy="2262855"/>
          </a:xfrm>
          <a:prstGeom prst="wedgeRectCallout">
            <a:avLst>
              <a:gd name="adj1" fmla="val 105450"/>
              <a:gd name="adj2" fmla="val 1132"/>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50" b="0" i="1" u="none" strike="noStrike" kern="1200" cap="none" spc="0" normalizeH="0" baseline="0" noProof="0" dirty="0">
                <a:ln>
                  <a:noFill/>
                </a:ln>
                <a:solidFill>
                  <a:prstClr val="black"/>
                </a:solidFill>
                <a:effectLst/>
                <a:uLnTx/>
                <a:uFillTx/>
                <a:latin typeface="Myriad Pro"/>
              </a:rPr>
              <a:t>Due to conflict amongst other reasons, ideal/aspirational progressions between stages may be quite different from the reality that many women and girls face</a:t>
            </a:r>
            <a:r>
              <a:rPr kumimoji="0" lang="en-GB" sz="1250" b="0" i="1" u="none" strike="noStrike" kern="1200" cap="none" spc="0" normalizeH="0" baseline="30000" noProof="0" dirty="0">
                <a:ln>
                  <a:noFill/>
                </a:ln>
                <a:solidFill>
                  <a:prstClr val="black"/>
                </a:solidFill>
                <a:effectLst/>
                <a:uLnTx/>
                <a:uFillTx/>
                <a:latin typeface="Myriad Pro"/>
              </a:rPr>
              <a:t>3</a:t>
            </a:r>
            <a:endParaRPr kumimoji="0" lang="en-GB" sz="1250" b="0" i="1" u="none" strike="noStrike" kern="1200" cap="none" spc="0" normalizeH="0" baseline="0" noProof="0" dirty="0">
              <a:ln>
                <a:noFill/>
              </a:ln>
              <a:solidFill>
                <a:prstClr val="black"/>
              </a:solidFill>
              <a:effectLst/>
              <a:uLnTx/>
              <a:uFillTx/>
              <a:latin typeface="Myriad Pro"/>
            </a:endParaRPr>
          </a:p>
        </p:txBody>
      </p:sp>
      <p:sp>
        <p:nvSpPr>
          <p:cNvPr id="7" name="Slide Number Placeholder 6"/>
          <p:cNvSpPr>
            <a:spLocks noGrp="1"/>
          </p:cNvSpPr>
          <p:nvPr>
            <p:ph type="sldNum" sz="quarter" idx="4294967295"/>
          </p:nvPr>
        </p:nvSpPr>
        <p:spPr>
          <a:xfrm>
            <a:off x="7086600" y="6492875"/>
            <a:ext cx="20574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95D1C1-32D3-4A09-A3BB-830F14256841}" type="slidenum">
              <a:rPr kumimoji="0" lang="en-US" sz="1800" b="0" i="0" u="none" strike="noStrike" kern="1200" cap="none" spc="0" normalizeH="0" baseline="0" noProof="0" smtClean="0">
                <a:ln>
                  <a:noFill/>
                </a:ln>
                <a:solidFill>
                  <a:prstClr val="black">
                    <a:tint val="75000"/>
                  </a:prstClr>
                </a:solidFill>
                <a:effectLst/>
                <a:uLnTx/>
                <a:uFillTx/>
                <a:latin typeface="Myriad Pro"/>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dirty="0">
              <a:ln>
                <a:noFill/>
              </a:ln>
              <a:solidFill>
                <a:prstClr val="black">
                  <a:tint val="75000"/>
                </a:prstClr>
              </a:solidFill>
              <a:effectLst/>
              <a:uLnTx/>
              <a:uFillTx/>
              <a:latin typeface="Myriad Pro"/>
            </a:endParaRPr>
          </a:p>
        </p:txBody>
      </p:sp>
    </p:spTree>
    <p:extLst>
      <p:ext uri="{BB962C8B-B14F-4D97-AF65-F5344CB8AC3E}">
        <p14:creationId xmlns:p14="http://schemas.microsoft.com/office/powerpoint/2010/main" val="316313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6398" name="think-cell Slide" r:id="rId5" imgW="508" imgH="508" progId="TCLayout.ActiveDocument.1">
                  <p:embed/>
                </p:oleObj>
              </mc:Choice>
              <mc:Fallback>
                <p:oleObj name="think-cell Slide" r:id="rId5" imgW="508" imgH="508" progId="TCLayout.ActiveDocument.1">
                  <p:embed/>
                  <p:pic>
                    <p:nvPicPr>
                      <p:cNvPr id="12" name="Object 11" hidden="1"/>
                      <p:cNvPicPr/>
                      <p:nvPr/>
                    </p:nvPicPr>
                    <p:blipFill>
                      <a:blip r:embed="rId6"/>
                      <a:stretch>
                        <a:fillRect/>
                      </a:stretch>
                    </p:blipFill>
                    <p:spPr>
                      <a:xfrm>
                        <a:off x="1466" y="265236"/>
                        <a:ext cx="1465" cy="1465"/>
                      </a:xfrm>
                      <a:prstGeom prst="rect">
                        <a:avLst/>
                      </a:prstGeom>
                    </p:spPr>
                  </p:pic>
                </p:oleObj>
              </mc:Fallback>
            </mc:AlternateContent>
          </a:graphicData>
        </a:graphic>
      </p:graphicFrame>
      <p:sp>
        <p:nvSpPr>
          <p:cNvPr id="2" name="Round Diagonal Corner Rectangle 1"/>
          <p:cNvSpPr/>
          <p:nvPr/>
        </p:nvSpPr>
        <p:spPr>
          <a:xfrm>
            <a:off x="445045" y="5715000"/>
            <a:ext cx="8317097" cy="640169"/>
          </a:xfrm>
          <a:prstGeom prst="round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Myriad Pro"/>
              </a:rPr>
              <a:t>All women and girls will occupy a lifecycle stage alongside an economic role outside of the household</a:t>
            </a:r>
          </a:p>
        </p:txBody>
      </p:sp>
      <p:sp>
        <p:nvSpPr>
          <p:cNvPr id="11" name="TextBox 10"/>
          <p:cNvSpPr txBox="1"/>
          <p:nvPr/>
        </p:nvSpPr>
        <p:spPr>
          <a:xfrm>
            <a:off x="289272" y="6553200"/>
            <a:ext cx="80927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Myriad Pro"/>
              </a:rPr>
              <a:t>Given each woman and girl segment is also a consumer, we have omitted the economic segment “consum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Myriad Pro"/>
            </a:endParaRPr>
          </a:p>
        </p:txBody>
      </p:sp>
      <p:sp>
        <p:nvSpPr>
          <p:cNvPr id="7" name="Title 6"/>
          <p:cNvSpPr>
            <a:spLocks noGrp="1"/>
          </p:cNvSpPr>
          <p:nvPr>
            <p:ph type="title"/>
          </p:nvPr>
        </p:nvSpPr>
        <p:spPr/>
        <p:txBody>
          <a:bodyPr/>
          <a:lstStyle/>
          <a:p>
            <a:r>
              <a:rPr lang="en-US" sz="2300" dirty="0">
                <a:solidFill>
                  <a:schemeClr val="tx1"/>
                </a:solidFill>
              </a:rPr>
              <a:t>Women’s financial needs are determined by their life cycle stage and economic roles</a:t>
            </a:r>
          </a:p>
        </p:txBody>
      </p:sp>
      <p:sp>
        <p:nvSpPr>
          <p:cNvPr id="22" name="Freeform: Shape 34"/>
          <p:cNvSpPr/>
          <p:nvPr/>
        </p:nvSpPr>
        <p:spPr>
          <a:xfrm>
            <a:off x="2748382" y="1600200"/>
            <a:ext cx="1624619" cy="761453"/>
          </a:xfrm>
          <a:custGeom>
            <a:avLst/>
            <a:gdLst>
              <a:gd name="connsiteX0" fmla="*/ 0 w 1370615"/>
              <a:gd name="connsiteY0" fmla="*/ 76145 h 761453"/>
              <a:gd name="connsiteX1" fmla="*/ 76145 w 1370615"/>
              <a:gd name="connsiteY1" fmla="*/ 0 h 761453"/>
              <a:gd name="connsiteX2" fmla="*/ 1294470 w 1370615"/>
              <a:gd name="connsiteY2" fmla="*/ 0 h 761453"/>
              <a:gd name="connsiteX3" fmla="*/ 1370615 w 1370615"/>
              <a:gd name="connsiteY3" fmla="*/ 76145 h 761453"/>
              <a:gd name="connsiteX4" fmla="*/ 1370615 w 1370615"/>
              <a:gd name="connsiteY4" fmla="*/ 685308 h 761453"/>
              <a:gd name="connsiteX5" fmla="*/ 1294470 w 1370615"/>
              <a:gd name="connsiteY5" fmla="*/ 761453 h 761453"/>
              <a:gd name="connsiteX6" fmla="*/ 76145 w 1370615"/>
              <a:gd name="connsiteY6" fmla="*/ 761453 h 761453"/>
              <a:gd name="connsiteX7" fmla="*/ 0 w 1370615"/>
              <a:gd name="connsiteY7" fmla="*/ 685308 h 761453"/>
              <a:gd name="connsiteX8" fmla="*/ 0 w 1370615"/>
              <a:gd name="connsiteY8" fmla="*/ 76145 h 76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615" h="761453">
                <a:moveTo>
                  <a:pt x="0" y="76145"/>
                </a:moveTo>
                <a:cubicBezTo>
                  <a:pt x="0" y="34091"/>
                  <a:pt x="34091" y="0"/>
                  <a:pt x="76145" y="0"/>
                </a:cubicBezTo>
                <a:lnTo>
                  <a:pt x="1294470" y="0"/>
                </a:lnTo>
                <a:cubicBezTo>
                  <a:pt x="1336524" y="0"/>
                  <a:pt x="1370615" y="34091"/>
                  <a:pt x="1370615" y="76145"/>
                </a:cubicBezTo>
                <a:lnTo>
                  <a:pt x="1370615" y="685308"/>
                </a:lnTo>
                <a:cubicBezTo>
                  <a:pt x="1370615" y="727362"/>
                  <a:pt x="1336524" y="761453"/>
                  <a:pt x="1294470" y="761453"/>
                </a:cubicBezTo>
                <a:lnTo>
                  <a:pt x="76145" y="761453"/>
                </a:lnTo>
                <a:cubicBezTo>
                  <a:pt x="34091" y="761453"/>
                  <a:pt x="0" y="727362"/>
                  <a:pt x="0" y="685308"/>
                </a:cubicBezTo>
                <a:lnTo>
                  <a:pt x="0" y="76145"/>
                </a:lnTo>
                <a:close/>
              </a:path>
            </a:pathLst>
          </a:custGeom>
          <a:solidFill>
            <a:schemeClr val="bg1">
              <a:lumMod val="85000"/>
              <a:alpha val="90000"/>
            </a:schemeClr>
          </a:solidFill>
          <a:ln>
            <a:solidFill>
              <a:schemeClr val="bg1">
                <a:lumMod val="95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5642" tIns="75642" rIns="75642" bIns="75642"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black">
                    <a:hueOff val="0"/>
                    <a:satOff val="0"/>
                    <a:lumOff val="0"/>
                    <a:alphaOff val="0"/>
                  </a:prstClr>
                </a:solidFill>
                <a:effectLst/>
                <a:uLnTx/>
                <a:uFillTx/>
                <a:latin typeface="Myriad Pro"/>
              </a:rPr>
              <a:t>Household life cycle stage</a:t>
            </a:r>
          </a:p>
        </p:txBody>
      </p:sp>
      <p:sp>
        <p:nvSpPr>
          <p:cNvPr id="21" name="Freeform: Shape 30"/>
          <p:cNvSpPr/>
          <p:nvPr/>
        </p:nvSpPr>
        <p:spPr>
          <a:xfrm>
            <a:off x="2748383" y="2509499"/>
            <a:ext cx="1624618" cy="2766574"/>
          </a:xfrm>
          <a:custGeom>
            <a:avLst/>
            <a:gdLst>
              <a:gd name="connsiteX0" fmla="*/ 0 w 1367574"/>
              <a:gd name="connsiteY0" fmla="*/ 106194 h 637149"/>
              <a:gd name="connsiteX1" fmla="*/ 106194 w 1367574"/>
              <a:gd name="connsiteY1" fmla="*/ 0 h 637149"/>
              <a:gd name="connsiteX2" fmla="*/ 1261380 w 1367574"/>
              <a:gd name="connsiteY2" fmla="*/ 0 h 637149"/>
              <a:gd name="connsiteX3" fmla="*/ 1367574 w 1367574"/>
              <a:gd name="connsiteY3" fmla="*/ 106194 h 637149"/>
              <a:gd name="connsiteX4" fmla="*/ 1367574 w 1367574"/>
              <a:gd name="connsiteY4" fmla="*/ 530955 h 637149"/>
              <a:gd name="connsiteX5" fmla="*/ 1261380 w 1367574"/>
              <a:gd name="connsiteY5" fmla="*/ 637149 h 637149"/>
              <a:gd name="connsiteX6" fmla="*/ 106194 w 1367574"/>
              <a:gd name="connsiteY6" fmla="*/ 637149 h 637149"/>
              <a:gd name="connsiteX7" fmla="*/ 0 w 1367574"/>
              <a:gd name="connsiteY7" fmla="*/ 530955 h 637149"/>
              <a:gd name="connsiteX8" fmla="*/ 0 w 1367574"/>
              <a:gd name="connsiteY8" fmla="*/ 106194 h 63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574" h="637149">
                <a:moveTo>
                  <a:pt x="0" y="106194"/>
                </a:moveTo>
                <a:cubicBezTo>
                  <a:pt x="0" y="47545"/>
                  <a:pt x="47545" y="0"/>
                  <a:pt x="106194" y="0"/>
                </a:cubicBezTo>
                <a:lnTo>
                  <a:pt x="1261380" y="0"/>
                </a:lnTo>
                <a:cubicBezTo>
                  <a:pt x="1320029" y="0"/>
                  <a:pt x="1367574" y="47545"/>
                  <a:pt x="1367574" y="106194"/>
                </a:cubicBezTo>
                <a:lnTo>
                  <a:pt x="1367574" y="530955"/>
                </a:lnTo>
                <a:cubicBezTo>
                  <a:pt x="1367574" y="589604"/>
                  <a:pt x="1320029" y="637149"/>
                  <a:pt x="1261380" y="637149"/>
                </a:cubicBezTo>
                <a:lnTo>
                  <a:pt x="106194" y="637149"/>
                </a:lnTo>
                <a:cubicBezTo>
                  <a:pt x="47545" y="637149"/>
                  <a:pt x="0" y="589604"/>
                  <a:pt x="0" y="530955"/>
                </a:cubicBezTo>
                <a:lnTo>
                  <a:pt x="0" y="106194"/>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443" tIns="84442" rIns="84442" bIns="84443"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yriad Pro"/>
              </a:rPr>
              <a:t>Lifecycle stage</a:t>
            </a:r>
          </a:p>
        </p:txBody>
      </p:sp>
      <p:grpSp>
        <p:nvGrpSpPr>
          <p:cNvPr id="13" name="Group 12"/>
          <p:cNvGrpSpPr/>
          <p:nvPr/>
        </p:nvGrpSpPr>
        <p:grpSpPr>
          <a:xfrm>
            <a:off x="2858873" y="3048000"/>
            <a:ext cx="1432749" cy="1803295"/>
            <a:chOff x="4685487" y="2764069"/>
            <a:chExt cx="1432749" cy="1803295"/>
          </a:xfrm>
        </p:grpSpPr>
        <p:sp>
          <p:nvSpPr>
            <p:cNvPr id="34" name="Arrow: Curved Down 3"/>
            <p:cNvSpPr/>
            <p:nvPr/>
          </p:nvSpPr>
          <p:spPr>
            <a:xfrm rot="525043">
              <a:off x="4772045" y="2764069"/>
              <a:ext cx="1346191" cy="484184"/>
            </a:xfrm>
            <a:prstGeom prst="curved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Myriad Pro"/>
              </a:endParaRPr>
            </a:p>
          </p:txBody>
        </p:sp>
        <p:sp>
          <p:nvSpPr>
            <p:cNvPr id="35" name="Arrow: Curved Down 58"/>
            <p:cNvSpPr/>
            <p:nvPr/>
          </p:nvSpPr>
          <p:spPr>
            <a:xfrm rot="11104147">
              <a:off x="4685487" y="4083180"/>
              <a:ext cx="1346191" cy="484184"/>
            </a:xfrm>
            <a:prstGeom prst="curved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Myriad Pro"/>
              </a:endParaRPr>
            </a:p>
          </p:txBody>
        </p:sp>
      </p:grpSp>
      <p:sp>
        <p:nvSpPr>
          <p:cNvPr id="26" name="Freeform: Shape 32"/>
          <p:cNvSpPr/>
          <p:nvPr/>
        </p:nvSpPr>
        <p:spPr>
          <a:xfrm>
            <a:off x="4572000" y="2506821"/>
            <a:ext cx="1624618" cy="657237"/>
          </a:xfrm>
          <a:custGeom>
            <a:avLst/>
            <a:gdLst>
              <a:gd name="connsiteX0" fmla="*/ 0 w 1367574"/>
              <a:gd name="connsiteY0" fmla="*/ 106194 h 637149"/>
              <a:gd name="connsiteX1" fmla="*/ 106194 w 1367574"/>
              <a:gd name="connsiteY1" fmla="*/ 0 h 637149"/>
              <a:gd name="connsiteX2" fmla="*/ 1261380 w 1367574"/>
              <a:gd name="connsiteY2" fmla="*/ 0 h 637149"/>
              <a:gd name="connsiteX3" fmla="*/ 1367574 w 1367574"/>
              <a:gd name="connsiteY3" fmla="*/ 106194 h 637149"/>
              <a:gd name="connsiteX4" fmla="*/ 1367574 w 1367574"/>
              <a:gd name="connsiteY4" fmla="*/ 530955 h 637149"/>
              <a:gd name="connsiteX5" fmla="*/ 1261380 w 1367574"/>
              <a:gd name="connsiteY5" fmla="*/ 637149 h 637149"/>
              <a:gd name="connsiteX6" fmla="*/ 106194 w 1367574"/>
              <a:gd name="connsiteY6" fmla="*/ 637149 h 637149"/>
              <a:gd name="connsiteX7" fmla="*/ 0 w 1367574"/>
              <a:gd name="connsiteY7" fmla="*/ 530955 h 637149"/>
              <a:gd name="connsiteX8" fmla="*/ 0 w 1367574"/>
              <a:gd name="connsiteY8" fmla="*/ 106194 h 63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574" h="637149">
                <a:moveTo>
                  <a:pt x="0" y="106194"/>
                </a:moveTo>
                <a:cubicBezTo>
                  <a:pt x="0" y="47545"/>
                  <a:pt x="47545" y="0"/>
                  <a:pt x="106194" y="0"/>
                </a:cubicBezTo>
                <a:lnTo>
                  <a:pt x="1261380" y="0"/>
                </a:lnTo>
                <a:cubicBezTo>
                  <a:pt x="1320029" y="0"/>
                  <a:pt x="1367574" y="47545"/>
                  <a:pt x="1367574" y="106194"/>
                </a:cubicBezTo>
                <a:lnTo>
                  <a:pt x="1367574" y="530955"/>
                </a:lnTo>
                <a:cubicBezTo>
                  <a:pt x="1367574" y="589604"/>
                  <a:pt x="1320029" y="637149"/>
                  <a:pt x="1261380" y="637149"/>
                </a:cubicBezTo>
                <a:lnTo>
                  <a:pt x="106194" y="637149"/>
                </a:lnTo>
                <a:cubicBezTo>
                  <a:pt x="47545" y="637149"/>
                  <a:pt x="0" y="589604"/>
                  <a:pt x="0" y="530955"/>
                </a:cubicBezTo>
                <a:lnTo>
                  <a:pt x="0" y="106194"/>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443" tIns="84442" rIns="84442" bIns="84443"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yriad Pro"/>
              </a:rPr>
              <a:t>Students</a:t>
            </a:r>
          </a:p>
        </p:txBody>
      </p:sp>
      <p:sp>
        <p:nvSpPr>
          <p:cNvPr id="28" name="Freeform: Shape 34"/>
          <p:cNvSpPr/>
          <p:nvPr/>
        </p:nvSpPr>
        <p:spPr>
          <a:xfrm>
            <a:off x="4572000" y="1601373"/>
            <a:ext cx="1624619" cy="761453"/>
          </a:xfrm>
          <a:custGeom>
            <a:avLst/>
            <a:gdLst>
              <a:gd name="connsiteX0" fmla="*/ 0 w 1370615"/>
              <a:gd name="connsiteY0" fmla="*/ 76145 h 761453"/>
              <a:gd name="connsiteX1" fmla="*/ 76145 w 1370615"/>
              <a:gd name="connsiteY1" fmla="*/ 0 h 761453"/>
              <a:gd name="connsiteX2" fmla="*/ 1294470 w 1370615"/>
              <a:gd name="connsiteY2" fmla="*/ 0 h 761453"/>
              <a:gd name="connsiteX3" fmla="*/ 1370615 w 1370615"/>
              <a:gd name="connsiteY3" fmla="*/ 76145 h 761453"/>
              <a:gd name="connsiteX4" fmla="*/ 1370615 w 1370615"/>
              <a:gd name="connsiteY4" fmla="*/ 685308 h 761453"/>
              <a:gd name="connsiteX5" fmla="*/ 1294470 w 1370615"/>
              <a:gd name="connsiteY5" fmla="*/ 761453 h 761453"/>
              <a:gd name="connsiteX6" fmla="*/ 76145 w 1370615"/>
              <a:gd name="connsiteY6" fmla="*/ 761453 h 761453"/>
              <a:gd name="connsiteX7" fmla="*/ 0 w 1370615"/>
              <a:gd name="connsiteY7" fmla="*/ 685308 h 761453"/>
              <a:gd name="connsiteX8" fmla="*/ 0 w 1370615"/>
              <a:gd name="connsiteY8" fmla="*/ 76145 h 76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615" h="761453">
                <a:moveTo>
                  <a:pt x="0" y="76145"/>
                </a:moveTo>
                <a:cubicBezTo>
                  <a:pt x="0" y="34091"/>
                  <a:pt x="34091" y="0"/>
                  <a:pt x="76145" y="0"/>
                </a:cubicBezTo>
                <a:lnTo>
                  <a:pt x="1294470" y="0"/>
                </a:lnTo>
                <a:cubicBezTo>
                  <a:pt x="1336524" y="0"/>
                  <a:pt x="1370615" y="34091"/>
                  <a:pt x="1370615" y="76145"/>
                </a:cubicBezTo>
                <a:lnTo>
                  <a:pt x="1370615" y="685308"/>
                </a:lnTo>
                <a:cubicBezTo>
                  <a:pt x="1370615" y="727362"/>
                  <a:pt x="1336524" y="761453"/>
                  <a:pt x="1294470" y="761453"/>
                </a:cubicBezTo>
                <a:lnTo>
                  <a:pt x="76145" y="761453"/>
                </a:lnTo>
                <a:cubicBezTo>
                  <a:pt x="34091" y="761453"/>
                  <a:pt x="0" y="727362"/>
                  <a:pt x="0" y="685308"/>
                </a:cubicBezTo>
                <a:lnTo>
                  <a:pt x="0" y="76145"/>
                </a:lnTo>
                <a:close/>
              </a:path>
            </a:pathLst>
          </a:custGeom>
          <a:solidFill>
            <a:schemeClr val="bg1">
              <a:lumMod val="85000"/>
              <a:alpha val="90000"/>
            </a:schemeClr>
          </a:solidFill>
          <a:ln>
            <a:solidFill>
              <a:schemeClr val="bg1">
                <a:lumMod val="95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5642" tIns="75642" rIns="75642" bIns="75642"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black">
                    <a:hueOff val="0"/>
                    <a:satOff val="0"/>
                    <a:lumOff val="0"/>
                    <a:alphaOff val="0"/>
                  </a:prstClr>
                </a:solidFill>
                <a:effectLst/>
                <a:uLnTx/>
                <a:uFillTx/>
                <a:latin typeface="Myriad Pro"/>
              </a:rPr>
              <a:t>Economic roles</a:t>
            </a:r>
          </a:p>
        </p:txBody>
      </p:sp>
      <p:sp>
        <p:nvSpPr>
          <p:cNvPr id="29" name="Freeform: Shape 32"/>
          <p:cNvSpPr/>
          <p:nvPr/>
        </p:nvSpPr>
        <p:spPr>
          <a:xfrm>
            <a:off x="4562622" y="3210826"/>
            <a:ext cx="1624618" cy="657237"/>
          </a:xfrm>
          <a:custGeom>
            <a:avLst/>
            <a:gdLst>
              <a:gd name="connsiteX0" fmla="*/ 0 w 1367574"/>
              <a:gd name="connsiteY0" fmla="*/ 106194 h 637149"/>
              <a:gd name="connsiteX1" fmla="*/ 106194 w 1367574"/>
              <a:gd name="connsiteY1" fmla="*/ 0 h 637149"/>
              <a:gd name="connsiteX2" fmla="*/ 1261380 w 1367574"/>
              <a:gd name="connsiteY2" fmla="*/ 0 h 637149"/>
              <a:gd name="connsiteX3" fmla="*/ 1367574 w 1367574"/>
              <a:gd name="connsiteY3" fmla="*/ 106194 h 637149"/>
              <a:gd name="connsiteX4" fmla="*/ 1367574 w 1367574"/>
              <a:gd name="connsiteY4" fmla="*/ 530955 h 637149"/>
              <a:gd name="connsiteX5" fmla="*/ 1261380 w 1367574"/>
              <a:gd name="connsiteY5" fmla="*/ 637149 h 637149"/>
              <a:gd name="connsiteX6" fmla="*/ 106194 w 1367574"/>
              <a:gd name="connsiteY6" fmla="*/ 637149 h 637149"/>
              <a:gd name="connsiteX7" fmla="*/ 0 w 1367574"/>
              <a:gd name="connsiteY7" fmla="*/ 530955 h 637149"/>
              <a:gd name="connsiteX8" fmla="*/ 0 w 1367574"/>
              <a:gd name="connsiteY8" fmla="*/ 106194 h 63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574" h="637149">
                <a:moveTo>
                  <a:pt x="0" y="106194"/>
                </a:moveTo>
                <a:cubicBezTo>
                  <a:pt x="0" y="47545"/>
                  <a:pt x="47545" y="0"/>
                  <a:pt x="106194" y="0"/>
                </a:cubicBezTo>
                <a:lnTo>
                  <a:pt x="1261380" y="0"/>
                </a:lnTo>
                <a:cubicBezTo>
                  <a:pt x="1320029" y="0"/>
                  <a:pt x="1367574" y="47545"/>
                  <a:pt x="1367574" y="106194"/>
                </a:cubicBezTo>
                <a:lnTo>
                  <a:pt x="1367574" y="530955"/>
                </a:lnTo>
                <a:cubicBezTo>
                  <a:pt x="1367574" y="589604"/>
                  <a:pt x="1320029" y="637149"/>
                  <a:pt x="1261380" y="637149"/>
                </a:cubicBezTo>
                <a:lnTo>
                  <a:pt x="106194" y="637149"/>
                </a:lnTo>
                <a:cubicBezTo>
                  <a:pt x="47545" y="637149"/>
                  <a:pt x="0" y="589604"/>
                  <a:pt x="0" y="530955"/>
                </a:cubicBezTo>
                <a:lnTo>
                  <a:pt x="0" y="106194"/>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443" tIns="84442" rIns="84442" bIns="84443"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yriad Pro"/>
              </a:rPr>
              <a:t>Employees</a:t>
            </a:r>
          </a:p>
        </p:txBody>
      </p:sp>
      <p:sp>
        <p:nvSpPr>
          <p:cNvPr id="30" name="Freeform: Shape 32"/>
          <p:cNvSpPr/>
          <p:nvPr/>
        </p:nvSpPr>
        <p:spPr>
          <a:xfrm>
            <a:off x="4572000" y="3914831"/>
            <a:ext cx="1624618" cy="657237"/>
          </a:xfrm>
          <a:custGeom>
            <a:avLst/>
            <a:gdLst>
              <a:gd name="connsiteX0" fmla="*/ 0 w 1367574"/>
              <a:gd name="connsiteY0" fmla="*/ 106194 h 637149"/>
              <a:gd name="connsiteX1" fmla="*/ 106194 w 1367574"/>
              <a:gd name="connsiteY1" fmla="*/ 0 h 637149"/>
              <a:gd name="connsiteX2" fmla="*/ 1261380 w 1367574"/>
              <a:gd name="connsiteY2" fmla="*/ 0 h 637149"/>
              <a:gd name="connsiteX3" fmla="*/ 1367574 w 1367574"/>
              <a:gd name="connsiteY3" fmla="*/ 106194 h 637149"/>
              <a:gd name="connsiteX4" fmla="*/ 1367574 w 1367574"/>
              <a:gd name="connsiteY4" fmla="*/ 530955 h 637149"/>
              <a:gd name="connsiteX5" fmla="*/ 1261380 w 1367574"/>
              <a:gd name="connsiteY5" fmla="*/ 637149 h 637149"/>
              <a:gd name="connsiteX6" fmla="*/ 106194 w 1367574"/>
              <a:gd name="connsiteY6" fmla="*/ 637149 h 637149"/>
              <a:gd name="connsiteX7" fmla="*/ 0 w 1367574"/>
              <a:gd name="connsiteY7" fmla="*/ 530955 h 637149"/>
              <a:gd name="connsiteX8" fmla="*/ 0 w 1367574"/>
              <a:gd name="connsiteY8" fmla="*/ 106194 h 63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574" h="637149">
                <a:moveTo>
                  <a:pt x="0" y="106194"/>
                </a:moveTo>
                <a:cubicBezTo>
                  <a:pt x="0" y="47545"/>
                  <a:pt x="47545" y="0"/>
                  <a:pt x="106194" y="0"/>
                </a:cubicBezTo>
                <a:lnTo>
                  <a:pt x="1261380" y="0"/>
                </a:lnTo>
                <a:cubicBezTo>
                  <a:pt x="1320029" y="0"/>
                  <a:pt x="1367574" y="47545"/>
                  <a:pt x="1367574" y="106194"/>
                </a:cubicBezTo>
                <a:lnTo>
                  <a:pt x="1367574" y="530955"/>
                </a:lnTo>
                <a:cubicBezTo>
                  <a:pt x="1367574" y="589604"/>
                  <a:pt x="1320029" y="637149"/>
                  <a:pt x="1261380" y="637149"/>
                </a:cubicBezTo>
                <a:lnTo>
                  <a:pt x="106194" y="637149"/>
                </a:lnTo>
                <a:cubicBezTo>
                  <a:pt x="47545" y="637149"/>
                  <a:pt x="0" y="589604"/>
                  <a:pt x="0" y="530955"/>
                </a:cubicBezTo>
                <a:lnTo>
                  <a:pt x="0" y="106194"/>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443" tIns="84442" rIns="84442" bIns="84443"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yriad Pro"/>
              </a:rPr>
              <a:t>(M)SME owners and employers</a:t>
            </a:r>
          </a:p>
        </p:txBody>
      </p:sp>
      <p:sp>
        <p:nvSpPr>
          <p:cNvPr id="31" name="Freeform: Shape 32"/>
          <p:cNvSpPr/>
          <p:nvPr/>
        </p:nvSpPr>
        <p:spPr>
          <a:xfrm>
            <a:off x="4572000" y="4618836"/>
            <a:ext cx="1624618" cy="657237"/>
          </a:xfrm>
          <a:custGeom>
            <a:avLst/>
            <a:gdLst>
              <a:gd name="connsiteX0" fmla="*/ 0 w 1367574"/>
              <a:gd name="connsiteY0" fmla="*/ 106194 h 637149"/>
              <a:gd name="connsiteX1" fmla="*/ 106194 w 1367574"/>
              <a:gd name="connsiteY1" fmla="*/ 0 h 637149"/>
              <a:gd name="connsiteX2" fmla="*/ 1261380 w 1367574"/>
              <a:gd name="connsiteY2" fmla="*/ 0 h 637149"/>
              <a:gd name="connsiteX3" fmla="*/ 1367574 w 1367574"/>
              <a:gd name="connsiteY3" fmla="*/ 106194 h 637149"/>
              <a:gd name="connsiteX4" fmla="*/ 1367574 w 1367574"/>
              <a:gd name="connsiteY4" fmla="*/ 530955 h 637149"/>
              <a:gd name="connsiteX5" fmla="*/ 1261380 w 1367574"/>
              <a:gd name="connsiteY5" fmla="*/ 637149 h 637149"/>
              <a:gd name="connsiteX6" fmla="*/ 106194 w 1367574"/>
              <a:gd name="connsiteY6" fmla="*/ 637149 h 637149"/>
              <a:gd name="connsiteX7" fmla="*/ 0 w 1367574"/>
              <a:gd name="connsiteY7" fmla="*/ 530955 h 637149"/>
              <a:gd name="connsiteX8" fmla="*/ 0 w 1367574"/>
              <a:gd name="connsiteY8" fmla="*/ 106194 h 63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574" h="637149">
                <a:moveTo>
                  <a:pt x="0" y="106194"/>
                </a:moveTo>
                <a:cubicBezTo>
                  <a:pt x="0" y="47545"/>
                  <a:pt x="47545" y="0"/>
                  <a:pt x="106194" y="0"/>
                </a:cubicBezTo>
                <a:lnTo>
                  <a:pt x="1261380" y="0"/>
                </a:lnTo>
                <a:cubicBezTo>
                  <a:pt x="1320029" y="0"/>
                  <a:pt x="1367574" y="47545"/>
                  <a:pt x="1367574" y="106194"/>
                </a:cubicBezTo>
                <a:lnTo>
                  <a:pt x="1367574" y="530955"/>
                </a:lnTo>
                <a:cubicBezTo>
                  <a:pt x="1367574" y="589604"/>
                  <a:pt x="1320029" y="637149"/>
                  <a:pt x="1261380" y="637149"/>
                </a:cubicBezTo>
                <a:lnTo>
                  <a:pt x="106194" y="637149"/>
                </a:lnTo>
                <a:cubicBezTo>
                  <a:pt x="47545" y="637149"/>
                  <a:pt x="0" y="589604"/>
                  <a:pt x="0" y="530955"/>
                </a:cubicBezTo>
                <a:lnTo>
                  <a:pt x="0" y="106194"/>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443" tIns="84442" rIns="84442" bIns="84443"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yriad Pro"/>
              </a:rPr>
              <a:t>Farmers</a:t>
            </a:r>
          </a:p>
        </p:txBody>
      </p:sp>
      <p:sp>
        <p:nvSpPr>
          <p:cNvPr id="18" name="Speech Bubble: Rectangle 17"/>
          <p:cNvSpPr/>
          <p:nvPr/>
        </p:nvSpPr>
        <p:spPr>
          <a:xfrm>
            <a:off x="472008" y="2209534"/>
            <a:ext cx="2094914" cy="1981465"/>
          </a:xfrm>
          <a:prstGeom prst="wedgeRectCallout">
            <a:avLst>
              <a:gd name="adj1" fmla="val 55369"/>
              <a:gd name="adj2" fmla="val 72239"/>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1" u="none" strike="noStrike" kern="1200" cap="none" spc="0" normalizeH="0" baseline="0" noProof="0" dirty="0">
                <a:ln>
                  <a:noFill/>
                </a:ln>
                <a:solidFill>
                  <a:prstClr val="black"/>
                </a:solidFill>
                <a:effectLst/>
                <a:uLnTx/>
                <a:uFillTx/>
                <a:latin typeface="Myriad Pro"/>
              </a:rPr>
              <a:t>Women and girls transition through multiple lifecycle stages during their lifetime, which influences their financial needs and the design of products and services required to meet these needs.</a:t>
            </a:r>
          </a:p>
        </p:txBody>
      </p:sp>
      <p:sp>
        <p:nvSpPr>
          <p:cNvPr id="19" name="Speech Bubble: Rectangle 18"/>
          <p:cNvSpPr/>
          <p:nvPr/>
        </p:nvSpPr>
        <p:spPr>
          <a:xfrm>
            <a:off x="6395617" y="2361653"/>
            <a:ext cx="2241877" cy="2219793"/>
          </a:xfrm>
          <a:prstGeom prst="wedgeRectCallout">
            <a:avLst>
              <a:gd name="adj1" fmla="val -55757"/>
              <a:gd name="adj2" fmla="val 73861"/>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1" u="none" strike="noStrike" kern="1200" cap="none" spc="0" normalizeH="0" baseline="0" noProof="0" dirty="0">
                <a:ln>
                  <a:noFill/>
                </a:ln>
                <a:solidFill>
                  <a:prstClr val="black"/>
                </a:solidFill>
                <a:effectLst/>
                <a:uLnTx/>
                <a:uFillTx/>
                <a:latin typeface="Myriad Pro"/>
              </a:rPr>
              <a:t>Women’s and girls’ experiences in these economic roles are distinctly different to those of men and boys, and these raise distinct financial needs and constraints for the design of financial products and services to consider. </a:t>
            </a:r>
            <a:endParaRPr kumimoji="0" lang="en-ZA" sz="1300" b="0" i="1" u="none" strike="noStrike" kern="1200" cap="none" spc="0" normalizeH="0" baseline="30000" noProof="0" dirty="0">
              <a:ln>
                <a:noFill/>
              </a:ln>
              <a:solidFill>
                <a:prstClr val="black"/>
              </a:solidFill>
              <a:effectLst/>
              <a:uLnTx/>
              <a:uFillTx/>
              <a:latin typeface="Myriad Pro"/>
            </a:endParaRPr>
          </a:p>
        </p:txBody>
      </p:sp>
      <p:sp>
        <p:nvSpPr>
          <p:cNvPr id="4" name="Slide Number Placeholder 3"/>
          <p:cNvSpPr>
            <a:spLocks noGrp="1"/>
          </p:cNvSpPr>
          <p:nvPr>
            <p:ph type="sldNum" sz="quarter" idx="4294967295"/>
          </p:nvPr>
        </p:nvSpPr>
        <p:spPr>
          <a:xfrm>
            <a:off x="7086600" y="6492875"/>
            <a:ext cx="20574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95D1C1-32D3-4A09-A3BB-830F14256841}" type="slidenum">
              <a:rPr kumimoji="0" lang="en-US" sz="1800" b="0" i="0" u="none" strike="noStrike" kern="1200" cap="none" spc="0" normalizeH="0" baseline="0" noProof="0" smtClean="0">
                <a:ln>
                  <a:noFill/>
                </a:ln>
                <a:solidFill>
                  <a:prstClr val="black">
                    <a:tint val="75000"/>
                  </a:prstClr>
                </a:solidFill>
                <a:effectLst/>
                <a:uLnTx/>
                <a:uFillTx/>
                <a:latin typeface="Myriad Pro"/>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dirty="0">
              <a:ln>
                <a:noFill/>
              </a:ln>
              <a:solidFill>
                <a:prstClr val="black">
                  <a:tint val="75000"/>
                </a:prstClr>
              </a:solidFill>
              <a:effectLst/>
              <a:uLnTx/>
              <a:uFillTx/>
              <a:latin typeface="Myriad Pro"/>
            </a:endParaRPr>
          </a:p>
        </p:txBody>
      </p:sp>
    </p:spTree>
    <p:extLst>
      <p:ext uri="{BB962C8B-B14F-4D97-AF65-F5344CB8AC3E}">
        <p14:creationId xmlns:p14="http://schemas.microsoft.com/office/powerpoint/2010/main" val="4063389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899592" y="1340768"/>
            <a:ext cx="7816416" cy="1656184"/>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Promote gender sensitive financial products and services and supporting non-financial services </a:t>
            </a:r>
            <a:r>
              <a:rPr lang="en-US" sz="1400" dirty="0"/>
              <a:t>through innovation funding, advocacy, convening, capacity building and research to incentivize collection and use of sex-disaggregated data by FSPs; develop and raise awareness of the context-specific business cases; develop gender-sensitive financial products, services and delivery channels; and provide minimum critical non-financial services to address agency constraints.</a:t>
            </a:r>
          </a:p>
        </p:txBody>
      </p:sp>
      <p:sp>
        <p:nvSpPr>
          <p:cNvPr id="3" name="Title 2"/>
          <p:cNvSpPr>
            <a:spLocks noGrp="1"/>
          </p:cNvSpPr>
          <p:nvPr>
            <p:ph type="title"/>
          </p:nvPr>
        </p:nvSpPr>
        <p:spPr/>
        <p:txBody>
          <a:bodyPr/>
          <a:lstStyle/>
          <a:p>
            <a:r>
              <a:rPr lang="en-US" dirty="0"/>
              <a:t>Global </a:t>
            </a:r>
            <a:r>
              <a:rPr lang="en-US" dirty="0" err="1"/>
              <a:t>PoWER</a:t>
            </a:r>
            <a:r>
              <a:rPr lang="en-US" dirty="0"/>
              <a:t> Strategic Objectives</a:t>
            </a:r>
          </a:p>
        </p:txBody>
      </p:sp>
      <p:sp>
        <p:nvSpPr>
          <p:cNvPr id="6" name="Rounded Rectangle 5"/>
          <p:cNvSpPr/>
          <p:nvPr/>
        </p:nvSpPr>
        <p:spPr>
          <a:xfrm>
            <a:off x="251520" y="1340768"/>
            <a:ext cx="499593" cy="165618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p>
        </p:txBody>
      </p:sp>
      <p:sp>
        <p:nvSpPr>
          <p:cNvPr id="7" name="Rounded Rectangle 6"/>
          <p:cNvSpPr/>
          <p:nvPr/>
        </p:nvSpPr>
        <p:spPr>
          <a:xfrm>
            <a:off x="899592" y="3140968"/>
            <a:ext cx="7816416" cy="165618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ZA" sz="1400" b="1" dirty="0">
                <a:solidFill>
                  <a:schemeClr val="tx1"/>
                </a:solidFill>
              </a:rPr>
              <a:t>Advance a gender sensitive enabling legal, policy and regulatory environment for financial inclusion</a:t>
            </a:r>
            <a:r>
              <a:rPr lang="en-ZA" sz="1400" dirty="0">
                <a:solidFill>
                  <a:schemeClr val="tx1"/>
                </a:solidFill>
              </a:rPr>
              <a:t> through: advocacy, convening and capacity building to address barriers and facilitate reforms; and incentivise the collection and use of sex-disaggregated data by financial inclusion regulators and policy makers. </a:t>
            </a:r>
          </a:p>
          <a:p>
            <a:endParaRPr lang="en-US" sz="1400" dirty="0"/>
          </a:p>
        </p:txBody>
      </p:sp>
      <p:sp>
        <p:nvSpPr>
          <p:cNvPr id="8" name="Rounded Rectangle 7"/>
          <p:cNvSpPr/>
          <p:nvPr/>
        </p:nvSpPr>
        <p:spPr>
          <a:xfrm>
            <a:off x="251520" y="3140968"/>
            <a:ext cx="499593" cy="165618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p>
        </p:txBody>
      </p:sp>
      <p:sp>
        <p:nvSpPr>
          <p:cNvPr id="9" name="Rounded Rectangle 8"/>
          <p:cNvSpPr/>
          <p:nvPr/>
        </p:nvSpPr>
        <p:spPr>
          <a:xfrm>
            <a:off x="899592" y="4952527"/>
            <a:ext cx="7816416" cy="1656184"/>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ZA" sz="1400" b="1" dirty="0" err="1">
              <a:solidFill>
                <a:schemeClr val="tx1"/>
              </a:solidFill>
            </a:endParaRPr>
          </a:p>
          <a:p>
            <a:pPr lvl="0"/>
            <a:r>
              <a:rPr lang="en-ZA" sz="1400" b="1" dirty="0">
                <a:solidFill>
                  <a:schemeClr val="tx1"/>
                </a:solidFill>
              </a:rPr>
              <a:t>Enhance women and girls’ capabilities, voice and demand for finance and control over the benefits from use of financial services</a:t>
            </a:r>
            <a:r>
              <a:rPr lang="en-ZA" sz="1400" dirty="0">
                <a:solidFill>
                  <a:schemeClr val="tx1"/>
                </a:solidFill>
              </a:rPr>
              <a:t> through advocacy, convening, capacity building and research by fostering innovative new partnerships for non-financial service delivery to account for their lower capabilities and confidence; strengthening and partnering with women's organizations and civil society organizations to address women's agency issues relating to women's capabilities, asset ownership, time and mobility; and understanding the barriers women and girls currently face in accessing, using and having agency over financial products and services.</a:t>
            </a:r>
            <a:endParaRPr lang="en-US" sz="1400" i="1" dirty="0">
              <a:solidFill>
                <a:schemeClr val="tx1"/>
              </a:solidFill>
            </a:endParaRPr>
          </a:p>
          <a:p>
            <a:endParaRPr lang="en-US" sz="1400" dirty="0">
              <a:solidFill>
                <a:schemeClr val="tx1"/>
              </a:solidFill>
            </a:endParaRPr>
          </a:p>
        </p:txBody>
      </p:sp>
      <p:sp>
        <p:nvSpPr>
          <p:cNvPr id="11" name="Rounded Rectangle 10"/>
          <p:cNvSpPr/>
          <p:nvPr/>
        </p:nvSpPr>
        <p:spPr>
          <a:xfrm>
            <a:off x="251520" y="4976057"/>
            <a:ext cx="499593" cy="165618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p>
        </p:txBody>
      </p:sp>
    </p:spTree>
    <p:extLst>
      <p:ext uri="{BB962C8B-B14F-4D97-AF65-F5344CB8AC3E}">
        <p14:creationId xmlns:p14="http://schemas.microsoft.com/office/powerpoint/2010/main" val="11893207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899592" y="1205136"/>
            <a:ext cx="7816416" cy="1431776"/>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ZA" sz="1400" b="1" dirty="0"/>
              <a:t>Strengthen UNCDF’s learning agenda on women’s and girls’ access and agency in financial inclusion</a:t>
            </a:r>
            <a:r>
              <a:rPr lang="en-ZA" sz="1400" dirty="0"/>
              <a:t> through contributing to hypothesis-driven primary research; and participating in regional and global forums to share research findings and </a:t>
            </a:r>
            <a:r>
              <a:rPr lang="en-US" sz="1400" dirty="0"/>
              <a:t>advocate on the global gender agenda</a:t>
            </a:r>
            <a:r>
              <a:rPr lang="en-ZA" sz="1400" dirty="0"/>
              <a:t>.</a:t>
            </a:r>
            <a:endParaRPr lang="en-US" sz="1400" i="1" dirty="0"/>
          </a:p>
        </p:txBody>
      </p:sp>
      <p:sp>
        <p:nvSpPr>
          <p:cNvPr id="3" name="Title 2"/>
          <p:cNvSpPr>
            <a:spLocks noGrp="1"/>
          </p:cNvSpPr>
          <p:nvPr>
            <p:ph type="title"/>
          </p:nvPr>
        </p:nvSpPr>
        <p:spPr>
          <a:xfrm>
            <a:off x="494171" y="1341"/>
            <a:ext cx="7391400" cy="609600"/>
          </a:xfrm>
        </p:spPr>
        <p:txBody>
          <a:bodyPr/>
          <a:lstStyle/>
          <a:p>
            <a:pPr algn="ctr"/>
            <a:r>
              <a:rPr lang="en-US" dirty="0"/>
              <a:t>Global </a:t>
            </a:r>
            <a:r>
              <a:rPr lang="en-US" dirty="0" err="1"/>
              <a:t>PoWER</a:t>
            </a:r>
            <a:r>
              <a:rPr lang="en-US" dirty="0"/>
              <a:t> Supporting Objectives &amp; Interventions</a:t>
            </a:r>
          </a:p>
        </p:txBody>
      </p:sp>
      <p:sp>
        <p:nvSpPr>
          <p:cNvPr id="6" name="Rounded Rectangle 5"/>
          <p:cNvSpPr/>
          <p:nvPr/>
        </p:nvSpPr>
        <p:spPr>
          <a:xfrm>
            <a:off x="251520" y="1205136"/>
            <a:ext cx="499593" cy="142844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p>
        </p:txBody>
      </p:sp>
      <p:sp>
        <p:nvSpPr>
          <p:cNvPr id="7" name="Rounded Rectangle 6"/>
          <p:cNvSpPr/>
          <p:nvPr/>
        </p:nvSpPr>
        <p:spPr>
          <a:xfrm>
            <a:off x="899592" y="2770885"/>
            <a:ext cx="7816416" cy="116217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Strengthen the gender-sensitivity of UNCDF programming and internal capacity</a:t>
            </a:r>
            <a:r>
              <a:rPr lang="en-GB" sz="1400" dirty="0">
                <a:solidFill>
                  <a:schemeClr val="tx1"/>
                </a:solidFill>
              </a:rPr>
              <a:t> through conducting an internal review of current programming and incorporating a gender dimension in ongoing and all future programming; and additionally, advocating for and building internal capacity to more effectively incorporate a gender dimension throughout programming.</a:t>
            </a:r>
            <a:r>
              <a:rPr lang="en-US" sz="1400" dirty="0">
                <a:solidFill>
                  <a:schemeClr val="tx1"/>
                </a:solidFill>
              </a:rPr>
              <a:t> </a:t>
            </a:r>
          </a:p>
          <a:p>
            <a:endParaRPr lang="en-US" sz="1400" dirty="0"/>
          </a:p>
        </p:txBody>
      </p:sp>
      <p:sp>
        <p:nvSpPr>
          <p:cNvPr id="8" name="Rounded Rectangle 7"/>
          <p:cNvSpPr/>
          <p:nvPr/>
        </p:nvSpPr>
        <p:spPr>
          <a:xfrm>
            <a:off x="260562" y="2700866"/>
            <a:ext cx="483405" cy="123219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p>
        </p:txBody>
      </p:sp>
      <p:graphicFrame>
        <p:nvGraphicFramePr>
          <p:cNvPr id="13" name="Diagram 12">
            <a:extLst>
              <a:ext uri="{FF2B5EF4-FFF2-40B4-BE49-F238E27FC236}">
                <a16:creationId xmlns:a16="http://schemas.microsoft.com/office/drawing/2014/main" xmlns="" id="{4CFB032C-E83D-404A-8653-59312FD722B3}"/>
              </a:ext>
            </a:extLst>
          </p:cNvPr>
          <p:cNvGraphicFramePr/>
          <p:nvPr>
            <p:extLst>
              <p:ext uri="{D42A27DB-BD31-4B8C-83A1-F6EECF244321}">
                <p14:modId xmlns:p14="http://schemas.microsoft.com/office/powerpoint/2010/main" val="1364238554"/>
              </p:ext>
            </p:extLst>
          </p:nvPr>
        </p:nvGraphicFramePr>
        <p:xfrm>
          <a:off x="1612402" y="4094039"/>
          <a:ext cx="6264696" cy="27639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a:extLst>
              <a:ext uri="{FF2B5EF4-FFF2-40B4-BE49-F238E27FC236}">
                <a16:creationId xmlns:a16="http://schemas.microsoft.com/office/drawing/2014/main" xmlns="" id="{C536BBBF-9035-4D2D-B0A6-F842B4BDADEF}"/>
              </a:ext>
            </a:extLst>
          </p:cNvPr>
          <p:cNvSpPr txBox="1"/>
          <p:nvPr/>
        </p:nvSpPr>
        <p:spPr>
          <a:xfrm>
            <a:off x="1619672" y="4098772"/>
            <a:ext cx="923330" cy="2759228"/>
          </a:xfrm>
          <a:prstGeom prst="rect">
            <a:avLst/>
          </a:prstGeom>
          <a:solidFill>
            <a:schemeClr val="accent1"/>
          </a:solidFill>
        </p:spPr>
        <p:txBody>
          <a:bodyPr vert="vert270" wrap="square" rtlCol="0">
            <a:spAutoFit/>
          </a:bodyPr>
          <a:lstStyle/>
          <a:p>
            <a:r>
              <a:rPr lang="en-US" sz="2400" b="1" dirty="0" err="1">
                <a:solidFill>
                  <a:schemeClr val="bg1"/>
                </a:solidFill>
                <a:highlight>
                  <a:srgbClr val="4D75A4"/>
                </a:highlight>
              </a:rPr>
              <a:t>PoWER</a:t>
            </a:r>
            <a:r>
              <a:rPr lang="en-US" sz="2400" b="1" dirty="0">
                <a:solidFill>
                  <a:schemeClr val="bg1"/>
                </a:solidFill>
                <a:highlight>
                  <a:srgbClr val="4D75A4"/>
                </a:highlight>
              </a:rPr>
              <a:t> Interventions</a:t>
            </a:r>
            <a:endParaRPr lang="en-US" b="1" dirty="0">
              <a:solidFill>
                <a:schemeClr val="bg1"/>
              </a:solidFill>
              <a:highlight>
                <a:srgbClr val="4D75A4"/>
              </a:highlight>
            </a:endParaRPr>
          </a:p>
        </p:txBody>
      </p:sp>
    </p:spTree>
    <p:extLst>
      <p:ext uri="{BB962C8B-B14F-4D97-AF65-F5344CB8AC3E}">
        <p14:creationId xmlns:p14="http://schemas.microsoft.com/office/powerpoint/2010/main" val="126791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
  <a:themeElements>
    <a:clrScheme name="Custom 1">
      <a:dk1>
        <a:srgbClr val="000000"/>
      </a:dk1>
      <a:lt1>
        <a:srgbClr val="FFFFFF"/>
      </a:lt1>
      <a:dk2>
        <a:srgbClr val="000000"/>
      </a:dk2>
      <a:lt2>
        <a:srgbClr val="808080"/>
      </a:lt2>
      <a:accent1>
        <a:srgbClr val="000000"/>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6C92B69C-0AB7-D440-8891-A648987AB2BD}"/>
    </a:ext>
  </a:extLst>
</a:theme>
</file>

<file path=ppt/theme/theme2.xml><?xml version="1.0" encoding="utf-8"?>
<a:theme xmlns:a="http://schemas.openxmlformats.org/drawingml/2006/main" name="1_6">
  <a:themeElements>
    <a:clrScheme name="Custom 1">
      <a:dk1>
        <a:srgbClr val="000000"/>
      </a:dk1>
      <a:lt1>
        <a:srgbClr val="FFFFFF"/>
      </a:lt1>
      <a:dk2>
        <a:srgbClr val="000000"/>
      </a:dk2>
      <a:lt2>
        <a:srgbClr val="808080"/>
      </a:lt2>
      <a:accent1>
        <a:srgbClr val="000000"/>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679B2CCE-8A8D-5143-92D5-F6C71499E5FC}"/>
    </a:ext>
  </a:extLst>
</a:theme>
</file>

<file path=ppt/theme/theme3.xml><?xml version="1.0" encoding="utf-8"?>
<a:theme xmlns:a="http://schemas.openxmlformats.org/drawingml/2006/main" name="Gener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DF453760-4C5A-004F-BBE1-1D82F44C042F}"/>
    </a:ext>
  </a:extLst>
</a:theme>
</file>

<file path=ppt/theme/theme4.xml><?xml version="1.0" encoding="utf-8"?>
<a:theme xmlns:a="http://schemas.openxmlformats.org/drawingml/2006/main" name="1_Gener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NCDF">
      <a:majorFont>
        <a:latin typeface="Myriad Pro"/>
        <a:ea typeface="ヒラギノ角ゴ ProN W3"/>
        <a:cs typeface="ヒラギノ角ゴ ProN W3"/>
      </a:majorFont>
      <a:minorFont>
        <a:latin typeface="Myriad Pro"/>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template" id="{CE7CE5FB-9C0B-3546-8820-89414C3104C3}" vid="{DF453760-4C5A-004F-BBE1-1D82F44C042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2</Template>
  <TotalTime>7384</TotalTime>
  <Words>2123</Words>
  <Application>Microsoft Macintosh PowerPoint</Application>
  <PresentationFormat>On-screen Show (4:3)</PresentationFormat>
  <Paragraphs>166</Paragraphs>
  <Slides>12</Slides>
  <Notes>7</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5" baseType="lpstr">
      <vt:lpstr>Calibri</vt:lpstr>
      <vt:lpstr>Myriad Pro</vt:lpstr>
      <vt:lpstr>SimSun</vt:lpstr>
      <vt:lpstr>Times New Roman</vt:lpstr>
      <vt:lpstr>Univers 55</vt:lpstr>
      <vt:lpstr>Wingdings</vt:lpstr>
      <vt:lpstr>ヒラギノ角ゴ ProN W3</vt:lpstr>
      <vt:lpstr>Arial</vt:lpstr>
      <vt:lpstr>6</vt:lpstr>
      <vt:lpstr>1_6</vt:lpstr>
      <vt:lpstr>General Slide</vt:lpstr>
      <vt:lpstr>1_General Slide</vt:lpstr>
      <vt:lpstr>think-cell Slide</vt:lpstr>
      <vt:lpstr>PowerPoint Presentation</vt:lpstr>
      <vt:lpstr>Senegal Financial Services for Women &amp; Girls Country Assessment Workshop</vt:lpstr>
      <vt:lpstr>Senegal Country Assessment Workshop Agenda </vt:lpstr>
      <vt:lpstr>Global PoWER Strategic Goal 2018-2022</vt:lpstr>
      <vt:lpstr>The PoWER Empowerment Framework</vt:lpstr>
      <vt:lpstr>During a woman’s life, she goes through multiple life cycle transition stages</vt:lpstr>
      <vt:lpstr>Women’s financial needs are determined by their life cycle stage and economic roles</vt:lpstr>
      <vt:lpstr>Global PoWER Strategic Objectives</vt:lpstr>
      <vt:lpstr>Global PoWER Supporting Objectives &amp; Interventions</vt:lpstr>
      <vt:lpstr>Global Implementation – 3 Key Phases</vt:lpstr>
      <vt:lpstr>PowerPoint Presentation</vt:lpstr>
      <vt:lpstr>Beth Porter Beth.Porter@uncdf.org </vt:lpstr>
    </vt:vector>
  </TitlesOfParts>
  <Manager/>
  <Company/>
  <LinksUpToDate>false</LinksUpToDate>
  <SharedDoc>false</SharedDoc>
  <HyperlinkBase/>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Katheine Miles</dc:creator>
  <cp:keywords>Template</cp:keywords>
  <dc:description/>
  <cp:lastModifiedBy>Katherine Miles</cp:lastModifiedBy>
  <cp:revision>161</cp:revision>
  <cp:lastPrinted>2017-09-25T15:23:08Z</cp:lastPrinted>
  <dcterms:created xsi:type="dcterms:W3CDTF">2017-02-14T14:45:15Z</dcterms:created>
  <dcterms:modified xsi:type="dcterms:W3CDTF">2017-11-06T08:44:55Z</dcterms:modified>
  <cp:category/>
</cp:coreProperties>
</file>